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0.xml" ContentType="application/vnd.openxmlformats-officedocument.presentationml.tags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1" r:id="rId1"/>
    <p:sldMasterId id="2147483683" r:id="rId2"/>
  </p:sldMasterIdLst>
  <p:notesMasterIdLst>
    <p:notesMasterId r:id="rId18"/>
  </p:notesMasterIdLst>
  <p:sldIdLst>
    <p:sldId id="256" r:id="rId3"/>
    <p:sldId id="257" r:id="rId4"/>
    <p:sldId id="259" r:id="rId5"/>
    <p:sldId id="266" r:id="rId6"/>
    <p:sldId id="277" r:id="rId7"/>
    <p:sldId id="264" r:id="rId8"/>
    <p:sldId id="278" r:id="rId9"/>
    <p:sldId id="279" r:id="rId10"/>
    <p:sldId id="269" r:id="rId11"/>
    <p:sldId id="283" r:id="rId12"/>
    <p:sldId id="282" r:id="rId13"/>
    <p:sldId id="270" r:id="rId14"/>
    <p:sldId id="281" r:id="rId15"/>
    <p:sldId id="273" r:id="rId16"/>
    <p:sldId id="280" r:id="rId17"/>
  </p:sldIdLst>
  <p:sldSz cx="9144000" cy="5143500" type="screen16x9"/>
  <p:notesSz cx="6858000" cy="9144000"/>
  <p:embeddedFontLst>
    <p:embeddedFont>
      <p:font typeface="Lato" panose="020F0502020204030203" pitchFamily="34" charset="0"/>
      <p:regular r:id="rId19"/>
      <p:bold r:id="rId20"/>
      <p:italic r:id="rId21"/>
      <p:boldItalic r:id="rId22"/>
    </p:embeddedFont>
    <p:embeddedFont>
      <p:font typeface="Raleway" pitchFamily="2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B7AD"/>
    <a:srgbClr val="A18E87"/>
    <a:srgbClr val="D08AA6"/>
    <a:srgbClr val="FDB1BE"/>
    <a:srgbClr val="C3FDD4"/>
    <a:srgbClr val="EAA5F1"/>
    <a:srgbClr val="F4E3A6"/>
    <a:srgbClr val="CAE6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29F164E-65EC-446A-AA06-1D494053C13E}" v="4279" dt="2021-09-26T11:33:51.87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64" autoAdjust="0"/>
    <p:restoredTop sz="94660"/>
  </p:normalViewPr>
  <p:slideViewPr>
    <p:cSldViewPr snapToGrid="0">
      <p:cViewPr varScale="1">
        <p:scale>
          <a:sx n="83" d="100"/>
          <a:sy n="83" d="100"/>
        </p:scale>
        <p:origin x="940" y="5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8.fntdata"/><Relationship Id="rId3" Type="http://schemas.openxmlformats.org/officeDocument/2006/relationships/slide" Target="slides/slide1.xml"/><Relationship Id="rId21" Type="http://schemas.openxmlformats.org/officeDocument/2006/relationships/font" Target="fonts/font3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7.fntdata"/><Relationship Id="rId33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font" Target="fonts/font2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6.fntdata"/><Relationship Id="rId32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5.fntdata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font" Target="fonts/font1.fntdata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4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iket Chhabra" userId="598e0514-bef3-4e71-b6aa-f2edd6441cff" providerId="ADAL" clId="{429F164E-65EC-446A-AA06-1D494053C13E}"/>
    <pc:docChg chg="undo redo custSel addSld delSld modSld sldOrd">
      <pc:chgData name="Aniket Chhabra" userId="598e0514-bef3-4e71-b6aa-f2edd6441cff" providerId="ADAL" clId="{429F164E-65EC-446A-AA06-1D494053C13E}" dt="2021-09-26T11:33:41.732" v="11958" actId="478"/>
      <pc:docMkLst>
        <pc:docMk/>
      </pc:docMkLst>
      <pc:sldChg chg="addSp delSp modSp mod">
        <pc:chgData name="Aniket Chhabra" userId="598e0514-bef3-4e71-b6aa-f2edd6441cff" providerId="ADAL" clId="{429F164E-65EC-446A-AA06-1D494053C13E}" dt="2021-09-15T03:35:38.860" v="11814" actId="20577"/>
        <pc:sldMkLst>
          <pc:docMk/>
          <pc:sldMk cId="0" sldId="256"/>
        </pc:sldMkLst>
        <pc:spChg chg="add del mod">
          <ac:chgData name="Aniket Chhabra" userId="598e0514-bef3-4e71-b6aa-f2edd6441cff" providerId="ADAL" clId="{429F164E-65EC-446A-AA06-1D494053C13E}" dt="2021-09-14T15:37:24.322" v="3984" actId="478"/>
          <ac:spMkLst>
            <pc:docMk/>
            <pc:sldMk cId="0" sldId="256"/>
            <ac:spMk id="3" creationId="{23702C7E-194C-4013-B2E8-C1B979CE8C4A}"/>
          </ac:spMkLst>
        </pc:spChg>
        <pc:spChg chg="add del mod">
          <ac:chgData name="Aniket Chhabra" userId="598e0514-bef3-4e71-b6aa-f2edd6441cff" providerId="ADAL" clId="{429F164E-65EC-446A-AA06-1D494053C13E}" dt="2021-09-14T15:39:21.372" v="4129" actId="478"/>
          <ac:spMkLst>
            <pc:docMk/>
            <pc:sldMk cId="0" sldId="256"/>
            <ac:spMk id="6" creationId="{40431B8A-8282-4B42-A60E-34890785A3F2}"/>
          </ac:spMkLst>
        </pc:spChg>
        <pc:spChg chg="mod">
          <ac:chgData name="Aniket Chhabra" userId="598e0514-bef3-4e71-b6aa-f2edd6441cff" providerId="ADAL" clId="{429F164E-65EC-446A-AA06-1D494053C13E}" dt="2021-09-14T15:38:28.150" v="4110" actId="20577"/>
          <ac:spMkLst>
            <pc:docMk/>
            <pc:sldMk cId="0" sldId="256"/>
            <ac:spMk id="177" creationId="{00000000-0000-0000-0000-000000000000}"/>
          </ac:spMkLst>
        </pc:spChg>
        <pc:spChg chg="mod">
          <ac:chgData name="Aniket Chhabra" userId="598e0514-bef3-4e71-b6aa-f2edd6441cff" providerId="ADAL" clId="{429F164E-65EC-446A-AA06-1D494053C13E}" dt="2021-09-15T03:35:38.860" v="11814" actId="20577"/>
          <ac:spMkLst>
            <pc:docMk/>
            <pc:sldMk cId="0" sldId="256"/>
            <ac:spMk id="178" creationId="{00000000-0000-0000-0000-000000000000}"/>
          </ac:spMkLst>
        </pc:spChg>
        <pc:graphicFrameChg chg="add mod ord modVis">
          <ac:chgData name="Aniket Chhabra" userId="598e0514-bef3-4e71-b6aa-f2edd6441cff" providerId="ADAL" clId="{429F164E-65EC-446A-AA06-1D494053C13E}" dt="2021-09-14T15:38:28.650" v="4112"/>
          <ac:graphicFrameMkLst>
            <pc:docMk/>
            <pc:sldMk cId="0" sldId="256"/>
            <ac:graphicFrameMk id="2" creationId="{9090C212-92CF-479A-B02D-BABCF28152D4}"/>
          </ac:graphicFrameMkLst>
        </pc:graphicFrameChg>
      </pc:sldChg>
      <pc:sldChg chg="modSp mod">
        <pc:chgData name="Aniket Chhabra" userId="598e0514-bef3-4e71-b6aa-f2edd6441cff" providerId="ADAL" clId="{429F164E-65EC-446A-AA06-1D494053C13E}" dt="2021-09-15T02:57:41.205" v="10484" actId="20577"/>
        <pc:sldMkLst>
          <pc:docMk/>
          <pc:sldMk cId="0" sldId="257"/>
        </pc:sldMkLst>
        <pc:spChg chg="mod">
          <ac:chgData name="Aniket Chhabra" userId="598e0514-bef3-4e71-b6aa-f2edd6441cff" providerId="ADAL" clId="{429F164E-65EC-446A-AA06-1D494053C13E}" dt="2021-09-15T02:57:41.205" v="10484" actId="20577"/>
          <ac:spMkLst>
            <pc:docMk/>
            <pc:sldMk cId="0" sldId="257"/>
            <ac:spMk id="184" creationId="{00000000-0000-0000-0000-000000000000}"/>
          </ac:spMkLst>
        </pc:spChg>
      </pc:sldChg>
      <pc:sldChg chg="addSp delSp modSp mod">
        <pc:chgData name="Aniket Chhabra" userId="598e0514-bef3-4e71-b6aa-f2edd6441cff" providerId="ADAL" clId="{429F164E-65EC-446A-AA06-1D494053C13E}" dt="2021-09-15T03:29:56.866" v="11812" actId="20577"/>
        <pc:sldMkLst>
          <pc:docMk/>
          <pc:sldMk cId="0" sldId="259"/>
        </pc:sldMkLst>
        <pc:spChg chg="add del mod">
          <ac:chgData name="Aniket Chhabra" userId="598e0514-bef3-4e71-b6aa-f2edd6441cff" providerId="ADAL" clId="{429F164E-65EC-446A-AA06-1D494053C13E}" dt="2021-09-14T15:52:44.485" v="4482" actId="478"/>
          <ac:spMkLst>
            <pc:docMk/>
            <pc:sldMk cId="0" sldId="259"/>
            <ac:spMk id="5" creationId="{A70E651B-3E3B-4C05-AD63-7552A71A0331}"/>
          </ac:spMkLst>
        </pc:spChg>
        <pc:spChg chg="mod">
          <ac:chgData name="Aniket Chhabra" userId="598e0514-bef3-4e71-b6aa-f2edd6441cff" providerId="ADAL" clId="{429F164E-65EC-446A-AA06-1D494053C13E}" dt="2021-09-15T03:29:56.866" v="11812" actId="20577"/>
          <ac:spMkLst>
            <pc:docMk/>
            <pc:sldMk cId="0" sldId="259"/>
            <ac:spMk id="196" creationId="{00000000-0000-0000-0000-000000000000}"/>
          </ac:spMkLst>
        </pc:spChg>
        <pc:spChg chg="mod">
          <ac:chgData name="Aniket Chhabra" userId="598e0514-bef3-4e71-b6aa-f2edd6441cff" providerId="ADAL" clId="{429F164E-65EC-446A-AA06-1D494053C13E}" dt="2021-09-14T15:51:52.745" v="4453" actId="20577"/>
          <ac:spMkLst>
            <pc:docMk/>
            <pc:sldMk cId="0" sldId="259"/>
            <ac:spMk id="197" creationId="{00000000-0000-0000-0000-000000000000}"/>
          </ac:spMkLst>
        </pc:spChg>
        <pc:picChg chg="add del mod">
          <ac:chgData name="Aniket Chhabra" userId="598e0514-bef3-4e71-b6aa-f2edd6441cff" providerId="ADAL" clId="{429F164E-65EC-446A-AA06-1D494053C13E}" dt="2021-09-14T08:16:08.298" v="3099"/>
          <ac:picMkLst>
            <pc:docMk/>
            <pc:sldMk cId="0" sldId="259"/>
            <ac:picMk id="5" creationId="{26DD25F8-35AD-4F6A-BB5B-57C222C5DD16}"/>
          </ac:picMkLst>
        </pc:picChg>
      </pc:sldChg>
      <pc:sldChg chg="del">
        <pc:chgData name="Aniket Chhabra" userId="598e0514-bef3-4e71-b6aa-f2edd6441cff" providerId="ADAL" clId="{429F164E-65EC-446A-AA06-1D494053C13E}" dt="2021-09-15T02:45:46.231" v="9977" actId="47"/>
        <pc:sldMkLst>
          <pc:docMk/>
          <pc:sldMk cId="0" sldId="261"/>
        </pc:sldMkLst>
      </pc:sldChg>
      <pc:sldChg chg="addSp modSp del mod">
        <pc:chgData name="Aniket Chhabra" userId="598e0514-bef3-4e71-b6aa-f2edd6441cff" providerId="ADAL" clId="{429F164E-65EC-446A-AA06-1D494053C13E}" dt="2021-09-14T15:56:26.467" v="4565" actId="47"/>
        <pc:sldMkLst>
          <pc:docMk/>
          <pc:sldMk cId="481790646" sldId="263"/>
        </pc:sldMkLst>
        <pc:graphicFrameChg chg="mod">
          <ac:chgData name="Aniket Chhabra" userId="598e0514-bef3-4e71-b6aa-f2edd6441cff" providerId="ADAL" clId="{429F164E-65EC-446A-AA06-1D494053C13E}" dt="2021-09-14T08:16:26.688" v="3109" actId="1076"/>
          <ac:graphicFrameMkLst>
            <pc:docMk/>
            <pc:sldMk cId="481790646" sldId="263"/>
            <ac:graphicFrameMk id="3" creationId="{344FC2B3-6C78-43A8-BE05-A743284C9C61}"/>
          </ac:graphicFrameMkLst>
        </pc:graphicFrameChg>
        <pc:picChg chg="add mod">
          <ac:chgData name="Aniket Chhabra" userId="598e0514-bef3-4e71-b6aa-f2edd6441cff" providerId="ADAL" clId="{429F164E-65EC-446A-AA06-1D494053C13E}" dt="2021-09-14T08:16:31.746" v="3112" actId="14100"/>
          <ac:picMkLst>
            <pc:docMk/>
            <pc:sldMk cId="481790646" sldId="263"/>
            <ac:picMk id="6" creationId="{F09E6249-D069-4D67-A0C2-4967A2B23F01}"/>
          </ac:picMkLst>
        </pc:picChg>
      </pc:sldChg>
      <pc:sldChg chg="addSp delSp modSp add del mod ord">
        <pc:chgData name="Aniket Chhabra" userId="598e0514-bef3-4e71-b6aa-f2edd6441cff" providerId="ADAL" clId="{429F164E-65EC-446A-AA06-1D494053C13E}" dt="2021-09-15T03:09:55.681" v="11202" actId="478"/>
        <pc:sldMkLst>
          <pc:docMk/>
          <pc:sldMk cId="3177726780" sldId="264"/>
        </pc:sldMkLst>
        <pc:spChg chg="add del mod">
          <ac:chgData name="Aniket Chhabra" userId="598e0514-bef3-4e71-b6aa-f2edd6441cff" providerId="ADAL" clId="{429F164E-65EC-446A-AA06-1D494053C13E}" dt="2021-09-14T07:38:49.664" v="2491"/>
          <ac:spMkLst>
            <pc:docMk/>
            <pc:sldMk cId="3177726780" sldId="264"/>
            <ac:spMk id="3" creationId="{67296AC6-9F89-4D51-BFC7-282DFB6DB166}"/>
          </ac:spMkLst>
        </pc:spChg>
        <pc:spChg chg="add del mod ord">
          <ac:chgData name="Aniket Chhabra" userId="598e0514-bef3-4e71-b6aa-f2edd6441cff" providerId="ADAL" clId="{429F164E-65EC-446A-AA06-1D494053C13E}" dt="2021-09-15T03:09:55.681" v="11202" actId="478"/>
          <ac:spMkLst>
            <pc:docMk/>
            <pc:sldMk cId="3177726780" sldId="264"/>
            <ac:spMk id="4" creationId="{51FEA11F-36EF-44FD-AB9A-94878F275A89}"/>
          </ac:spMkLst>
        </pc:spChg>
        <pc:spChg chg="del mod ord topLvl">
          <ac:chgData name="Aniket Chhabra" userId="598e0514-bef3-4e71-b6aa-f2edd6441cff" providerId="ADAL" clId="{429F164E-65EC-446A-AA06-1D494053C13E}" dt="2021-09-14T16:06:07.327" v="5264" actId="478"/>
          <ac:spMkLst>
            <pc:docMk/>
            <pc:sldMk cId="3177726780" sldId="264"/>
            <ac:spMk id="7" creationId="{9B075370-D20D-465C-804C-924FBCBEEDD9}"/>
          </ac:spMkLst>
        </pc:spChg>
        <pc:spChg chg="mod ord topLvl">
          <ac:chgData name="Aniket Chhabra" userId="598e0514-bef3-4e71-b6aa-f2edd6441cff" providerId="ADAL" clId="{429F164E-65EC-446A-AA06-1D494053C13E}" dt="2021-09-14T16:06:49.829" v="5353" actId="1036"/>
          <ac:spMkLst>
            <pc:docMk/>
            <pc:sldMk cId="3177726780" sldId="264"/>
            <ac:spMk id="8" creationId="{FB06F7CF-1727-4350-92AE-2A4983CBE252}"/>
          </ac:spMkLst>
        </pc:spChg>
        <pc:spChg chg="mod ord topLvl">
          <ac:chgData name="Aniket Chhabra" userId="598e0514-bef3-4e71-b6aa-f2edd6441cff" providerId="ADAL" clId="{429F164E-65EC-446A-AA06-1D494053C13E}" dt="2021-09-14T16:07:07.412" v="5355" actId="1076"/>
          <ac:spMkLst>
            <pc:docMk/>
            <pc:sldMk cId="3177726780" sldId="264"/>
            <ac:spMk id="9" creationId="{22219454-C7AF-4DDA-8BD1-00F4044EBFF5}"/>
          </ac:spMkLst>
        </pc:spChg>
        <pc:spChg chg="mod ord topLvl">
          <ac:chgData name="Aniket Chhabra" userId="598e0514-bef3-4e71-b6aa-f2edd6441cff" providerId="ADAL" clId="{429F164E-65EC-446A-AA06-1D494053C13E}" dt="2021-09-14T16:06:26.691" v="5280" actId="1035"/>
          <ac:spMkLst>
            <pc:docMk/>
            <pc:sldMk cId="3177726780" sldId="264"/>
            <ac:spMk id="10" creationId="{D60B8B87-1792-4A66-8262-561D0818846D}"/>
          </ac:spMkLst>
        </pc:spChg>
        <pc:spChg chg="mod ord topLvl">
          <ac:chgData name="Aniket Chhabra" userId="598e0514-bef3-4e71-b6aa-f2edd6441cff" providerId="ADAL" clId="{429F164E-65EC-446A-AA06-1D494053C13E}" dt="2021-09-14T16:07:13.519" v="5370" actId="1038"/>
          <ac:spMkLst>
            <pc:docMk/>
            <pc:sldMk cId="3177726780" sldId="264"/>
            <ac:spMk id="11" creationId="{4E1662C0-57DD-4316-8DC7-0365ED29D5A9}"/>
          </ac:spMkLst>
        </pc:spChg>
        <pc:spChg chg="mod ord topLvl">
          <ac:chgData name="Aniket Chhabra" userId="598e0514-bef3-4e71-b6aa-f2edd6441cff" providerId="ADAL" clId="{429F164E-65EC-446A-AA06-1D494053C13E}" dt="2021-09-14T16:07:13.519" v="5370" actId="1038"/>
          <ac:spMkLst>
            <pc:docMk/>
            <pc:sldMk cId="3177726780" sldId="264"/>
            <ac:spMk id="12" creationId="{9381F392-E6EE-4ECB-AB68-6B6C1CE58014}"/>
          </ac:spMkLst>
        </pc:spChg>
        <pc:spChg chg="mod ord topLvl">
          <ac:chgData name="Aniket Chhabra" userId="598e0514-bef3-4e71-b6aa-f2edd6441cff" providerId="ADAL" clId="{429F164E-65EC-446A-AA06-1D494053C13E}" dt="2021-09-14T16:07:13.519" v="5370" actId="1038"/>
          <ac:spMkLst>
            <pc:docMk/>
            <pc:sldMk cId="3177726780" sldId="264"/>
            <ac:spMk id="13" creationId="{4E65C6FB-A9E0-4323-ACF8-A621281CD8D3}"/>
          </ac:spMkLst>
        </pc:spChg>
        <pc:spChg chg="mod ord topLvl">
          <ac:chgData name="Aniket Chhabra" userId="598e0514-bef3-4e71-b6aa-f2edd6441cff" providerId="ADAL" clId="{429F164E-65EC-446A-AA06-1D494053C13E}" dt="2021-09-14T16:07:13.519" v="5370" actId="1038"/>
          <ac:spMkLst>
            <pc:docMk/>
            <pc:sldMk cId="3177726780" sldId="264"/>
            <ac:spMk id="14" creationId="{590DFBE9-5EB6-493C-9125-4F62BA8A13A3}"/>
          </ac:spMkLst>
        </pc:spChg>
        <pc:spChg chg="mod ord topLvl">
          <ac:chgData name="Aniket Chhabra" userId="598e0514-bef3-4e71-b6aa-f2edd6441cff" providerId="ADAL" clId="{429F164E-65EC-446A-AA06-1D494053C13E}" dt="2021-09-14T16:08:59.810" v="5394" actId="14100"/>
          <ac:spMkLst>
            <pc:docMk/>
            <pc:sldMk cId="3177726780" sldId="264"/>
            <ac:spMk id="15" creationId="{EC7CAEEE-10E3-4EB4-AE07-257C8E573B8E}"/>
          </ac:spMkLst>
        </pc:spChg>
        <pc:spChg chg="mod ord topLvl">
          <ac:chgData name="Aniket Chhabra" userId="598e0514-bef3-4e71-b6aa-f2edd6441cff" providerId="ADAL" clId="{429F164E-65EC-446A-AA06-1D494053C13E}" dt="2021-09-14T16:07:13.519" v="5370" actId="1038"/>
          <ac:spMkLst>
            <pc:docMk/>
            <pc:sldMk cId="3177726780" sldId="264"/>
            <ac:spMk id="16" creationId="{AEB81025-F1DE-4751-AC1D-7369BB49B265}"/>
          </ac:spMkLst>
        </pc:spChg>
        <pc:spChg chg="mod ord topLvl">
          <ac:chgData name="Aniket Chhabra" userId="598e0514-bef3-4e71-b6aa-f2edd6441cff" providerId="ADAL" clId="{429F164E-65EC-446A-AA06-1D494053C13E}" dt="2021-09-14T16:07:13.519" v="5370" actId="1038"/>
          <ac:spMkLst>
            <pc:docMk/>
            <pc:sldMk cId="3177726780" sldId="264"/>
            <ac:spMk id="17" creationId="{9F3CC6CD-7CE6-4DC4-AA21-6F5FD64785B2}"/>
          </ac:spMkLst>
        </pc:spChg>
        <pc:spChg chg="mod ord topLvl">
          <ac:chgData name="Aniket Chhabra" userId="598e0514-bef3-4e71-b6aa-f2edd6441cff" providerId="ADAL" clId="{429F164E-65EC-446A-AA06-1D494053C13E}" dt="2021-09-14T16:08:24.119" v="5385" actId="1035"/>
          <ac:spMkLst>
            <pc:docMk/>
            <pc:sldMk cId="3177726780" sldId="264"/>
            <ac:spMk id="18" creationId="{E303537B-CC14-49C1-B518-BD87953C70C9}"/>
          </ac:spMkLst>
        </pc:spChg>
        <pc:spChg chg="mod ord topLvl">
          <ac:chgData name="Aniket Chhabra" userId="598e0514-bef3-4e71-b6aa-f2edd6441cff" providerId="ADAL" clId="{429F164E-65EC-446A-AA06-1D494053C13E}" dt="2021-09-14T16:08:24.119" v="5385" actId="1035"/>
          <ac:spMkLst>
            <pc:docMk/>
            <pc:sldMk cId="3177726780" sldId="264"/>
            <ac:spMk id="19" creationId="{B0E7266D-03F8-4965-8940-7B27F3F37E81}"/>
          </ac:spMkLst>
        </pc:spChg>
        <pc:spChg chg="mod ord topLvl">
          <ac:chgData name="Aniket Chhabra" userId="598e0514-bef3-4e71-b6aa-f2edd6441cff" providerId="ADAL" clId="{429F164E-65EC-446A-AA06-1D494053C13E}" dt="2021-09-14T16:08:24.119" v="5385" actId="1035"/>
          <ac:spMkLst>
            <pc:docMk/>
            <pc:sldMk cId="3177726780" sldId="264"/>
            <ac:spMk id="20" creationId="{414AEFF0-93A3-439D-8950-9ACC585D6A30}"/>
          </ac:spMkLst>
        </pc:spChg>
        <pc:spChg chg="mod ord topLvl">
          <ac:chgData name="Aniket Chhabra" userId="598e0514-bef3-4e71-b6aa-f2edd6441cff" providerId="ADAL" clId="{429F164E-65EC-446A-AA06-1D494053C13E}" dt="2021-09-14T16:08:24.119" v="5385" actId="1035"/>
          <ac:spMkLst>
            <pc:docMk/>
            <pc:sldMk cId="3177726780" sldId="264"/>
            <ac:spMk id="21" creationId="{7A0C1D8C-9D31-4912-9706-3F83E7128903}"/>
          </ac:spMkLst>
        </pc:spChg>
        <pc:spChg chg="mod ord topLvl">
          <ac:chgData name="Aniket Chhabra" userId="598e0514-bef3-4e71-b6aa-f2edd6441cff" providerId="ADAL" clId="{429F164E-65EC-446A-AA06-1D494053C13E}" dt="2021-09-14T16:08:24.119" v="5385" actId="1035"/>
          <ac:spMkLst>
            <pc:docMk/>
            <pc:sldMk cId="3177726780" sldId="264"/>
            <ac:spMk id="22" creationId="{1F56AFC1-4044-4DEF-A63D-B73320A156B9}"/>
          </ac:spMkLst>
        </pc:spChg>
        <pc:spChg chg="mod ord topLvl">
          <ac:chgData name="Aniket Chhabra" userId="598e0514-bef3-4e71-b6aa-f2edd6441cff" providerId="ADAL" clId="{429F164E-65EC-446A-AA06-1D494053C13E}" dt="2021-09-14T16:08:24.119" v="5385" actId="1035"/>
          <ac:spMkLst>
            <pc:docMk/>
            <pc:sldMk cId="3177726780" sldId="264"/>
            <ac:spMk id="23" creationId="{C12299AB-D0A6-4B19-A8AE-CD3BB38F3F2A}"/>
          </ac:spMkLst>
        </pc:spChg>
        <pc:spChg chg="mod ord topLvl">
          <ac:chgData name="Aniket Chhabra" userId="598e0514-bef3-4e71-b6aa-f2edd6441cff" providerId="ADAL" clId="{429F164E-65EC-446A-AA06-1D494053C13E}" dt="2021-09-14T16:06:49.829" v="5353" actId="1036"/>
          <ac:spMkLst>
            <pc:docMk/>
            <pc:sldMk cId="3177726780" sldId="264"/>
            <ac:spMk id="24" creationId="{E5B12D05-8AF5-4122-BEE7-7F2AF3F0C365}"/>
          </ac:spMkLst>
        </pc:spChg>
        <pc:spChg chg="mod ord topLvl">
          <ac:chgData name="Aniket Chhabra" userId="598e0514-bef3-4e71-b6aa-f2edd6441cff" providerId="ADAL" clId="{429F164E-65EC-446A-AA06-1D494053C13E}" dt="2021-09-14T16:06:49.829" v="5353" actId="1036"/>
          <ac:spMkLst>
            <pc:docMk/>
            <pc:sldMk cId="3177726780" sldId="264"/>
            <ac:spMk id="25" creationId="{D7A17795-C86A-438D-B8B5-30C785A244C4}"/>
          </ac:spMkLst>
        </pc:spChg>
        <pc:spChg chg="mod ord topLvl">
          <ac:chgData name="Aniket Chhabra" userId="598e0514-bef3-4e71-b6aa-f2edd6441cff" providerId="ADAL" clId="{429F164E-65EC-446A-AA06-1D494053C13E}" dt="2021-09-14T16:06:49.829" v="5353" actId="1036"/>
          <ac:spMkLst>
            <pc:docMk/>
            <pc:sldMk cId="3177726780" sldId="264"/>
            <ac:spMk id="26" creationId="{55BD5B40-027D-49A0-A53B-E3D763BE6EA8}"/>
          </ac:spMkLst>
        </pc:spChg>
        <pc:spChg chg="mod ord topLvl">
          <ac:chgData name="Aniket Chhabra" userId="598e0514-bef3-4e71-b6aa-f2edd6441cff" providerId="ADAL" clId="{429F164E-65EC-446A-AA06-1D494053C13E}" dt="2021-09-14T16:06:49.829" v="5353" actId="1036"/>
          <ac:spMkLst>
            <pc:docMk/>
            <pc:sldMk cId="3177726780" sldId="264"/>
            <ac:spMk id="27" creationId="{4075634C-8B3C-4652-9B29-361AA14F980E}"/>
          </ac:spMkLst>
        </pc:spChg>
        <pc:spChg chg="mod ord topLvl">
          <ac:chgData name="Aniket Chhabra" userId="598e0514-bef3-4e71-b6aa-f2edd6441cff" providerId="ADAL" clId="{429F164E-65EC-446A-AA06-1D494053C13E}" dt="2021-09-14T16:06:49.829" v="5353" actId="1036"/>
          <ac:spMkLst>
            <pc:docMk/>
            <pc:sldMk cId="3177726780" sldId="264"/>
            <ac:spMk id="28" creationId="{0D98C093-9934-4679-99D2-B71F38AA62D4}"/>
          </ac:spMkLst>
        </pc:spChg>
        <pc:spChg chg="mod ord topLvl">
          <ac:chgData name="Aniket Chhabra" userId="598e0514-bef3-4e71-b6aa-f2edd6441cff" providerId="ADAL" clId="{429F164E-65EC-446A-AA06-1D494053C13E}" dt="2021-09-14T16:06:49.829" v="5353" actId="1036"/>
          <ac:spMkLst>
            <pc:docMk/>
            <pc:sldMk cId="3177726780" sldId="264"/>
            <ac:spMk id="29" creationId="{78032A3A-BE47-4032-8558-7677A83EC93B}"/>
          </ac:spMkLst>
        </pc:spChg>
        <pc:spChg chg="mod ord topLvl">
          <ac:chgData name="Aniket Chhabra" userId="598e0514-bef3-4e71-b6aa-f2edd6441cff" providerId="ADAL" clId="{429F164E-65EC-446A-AA06-1D494053C13E}" dt="2021-09-14T16:07:07.412" v="5355" actId="1076"/>
          <ac:spMkLst>
            <pc:docMk/>
            <pc:sldMk cId="3177726780" sldId="264"/>
            <ac:spMk id="30" creationId="{FFC98DAF-B6BD-41BF-A391-DD82AE8595B5}"/>
          </ac:spMkLst>
        </pc:spChg>
        <pc:spChg chg="mod ord topLvl">
          <ac:chgData name="Aniket Chhabra" userId="598e0514-bef3-4e71-b6aa-f2edd6441cff" providerId="ADAL" clId="{429F164E-65EC-446A-AA06-1D494053C13E}" dt="2021-09-14T16:07:07.412" v="5355" actId="1076"/>
          <ac:spMkLst>
            <pc:docMk/>
            <pc:sldMk cId="3177726780" sldId="264"/>
            <ac:spMk id="31" creationId="{4630211A-2991-41A6-9E02-7E8ED0FDF0BF}"/>
          </ac:spMkLst>
        </pc:spChg>
        <pc:spChg chg="mod ord topLvl">
          <ac:chgData name="Aniket Chhabra" userId="598e0514-bef3-4e71-b6aa-f2edd6441cff" providerId="ADAL" clId="{429F164E-65EC-446A-AA06-1D494053C13E}" dt="2021-09-14T16:07:07.412" v="5355" actId="1076"/>
          <ac:spMkLst>
            <pc:docMk/>
            <pc:sldMk cId="3177726780" sldId="264"/>
            <ac:spMk id="32" creationId="{3BB7B002-5D51-493C-9412-BE8312BBC569}"/>
          </ac:spMkLst>
        </pc:spChg>
        <pc:spChg chg="mod ord topLvl">
          <ac:chgData name="Aniket Chhabra" userId="598e0514-bef3-4e71-b6aa-f2edd6441cff" providerId="ADAL" clId="{429F164E-65EC-446A-AA06-1D494053C13E}" dt="2021-09-14T16:07:07.412" v="5355" actId="1076"/>
          <ac:spMkLst>
            <pc:docMk/>
            <pc:sldMk cId="3177726780" sldId="264"/>
            <ac:spMk id="33" creationId="{2DA835EA-E9B2-4ADF-896D-053C68055846}"/>
          </ac:spMkLst>
        </pc:spChg>
        <pc:spChg chg="mod ord topLvl">
          <ac:chgData name="Aniket Chhabra" userId="598e0514-bef3-4e71-b6aa-f2edd6441cff" providerId="ADAL" clId="{429F164E-65EC-446A-AA06-1D494053C13E}" dt="2021-09-14T16:07:07.412" v="5355" actId="1076"/>
          <ac:spMkLst>
            <pc:docMk/>
            <pc:sldMk cId="3177726780" sldId="264"/>
            <ac:spMk id="34" creationId="{5810855F-BDFD-4F6F-AF1F-79BEFE392262}"/>
          </ac:spMkLst>
        </pc:spChg>
        <pc:spChg chg="mod ord topLvl">
          <ac:chgData name="Aniket Chhabra" userId="598e0514-bef3-4e71-b6aa-f2edd6441cff" providerId="ADAL" clId="{429F164E-65EC-446A-AA06-1D494053C13E}" dt="2021-09-14T16:07:07.412" v="5355" actId="1076"/>
          <ac:spMkLst>
            <pc:docMk/>
            <pc:sldMk cId="3177726780" sldId="264"/>
            <ac:spMk id="35" creationId="{FD5B685D-391E-4040-9C1C-044A9A878BEE}"/>
          </ac:spMkLst>
        </pc:spChg>
        <pc:spChg chg="mod ord topLvl">
          <ac:chgData name="Aniket Chhabra" userId="598e0514-bef3-4e71-b6aa-f2edd6441cff" providerId="ADAL" clId="{429F164E-65EC-446A-AA06-1D494053C13E}" dt="2021-09-14T16:11:54.728" v="5413" actId="113"/>
          <ac:spMkLst>
            <pc:docMk/>
            <pc:sldMk cId="3177726780" sldId="264"/>
            <ac:spMk id="36" creationId="{808B7860-EDB2-46B3-A9DE-C896B5144F59}"/>
          </ac:spMkLst>
        </pc:spChg>
        <pc:spChg chg="mod ord topLvl">
          <ac:chgData name="Aniket Chhabra" userId="598e0514-bef3-4e71-b6aa-f2edd6441cff" providerId="ADAL" clId="{429F164E-65EC-446A-AA06-1D494053C13E}" dt="2021-09-14T16:12:14.836" v="5423" actId="20577"/>
          <ac:spMkLst>
            <pc:docMk/>
            <pc:sldMk cId="3177726780" sldId="264"/>
            <ac:spMk id="37" creationId="{AB837DD3-4641-4C35-99F2-791176CC78E4}"/>
          </ac:spMkLst>
        </pc:spChg>
        <pc:spChg chg="mod ord topLvl">
          <ac:chgData name="Aniket Chhabra" userId="598e0514-bef3-4e71-b6aa-f2edd6441cff" providerId="ADAL" clId="{429F164E-65EC-446A-AA06-1D494053C13E}" dt="2021-09-14T16:11:58.042" v="5415" actId="113"/>
          <ac:spMkLst>
            <pc:docMk/>
            <pc:sldMk cId="3177726780" sldId="264"/>
            <ac:spMk id="38" creationId="{AD732A02-F3BB-4864-BAA5-A8551ADCFA62}"/>
          </ac:spMkLst>
        </pc:spChg>
        <pc:spChg chg="mod ord topLvl">
          <ac:chgData name="Aniket Chhabra" userId="598e0514-bef3-4e71-b6aa-f2edd6441cff" providerId="ADAL" clId="{429F164E-65EC-446A-AA06-1D494053C13E}" dt="2021-09-14T16:12:01.561" v="5417" actId="113"/>
          <ac:spMkLst>
            <pc:docMk/>
            <pc:sldMk cId="3177726780" sldId="264"/>
            <ac:spMk id="39" creationId="{851671F4-21B8-40FE-9DC6-78609FA6D335}"/>
          </ac:spMkLst>
        </pc:spChg>
        <pc:spChg chg="mod ord topLvl">
          <ac:chgData name="Aniket Chhabra" userId="598e0514-bef3-4e71-b6aa-f2edd6441cff" providerId="ADAL" clId="{429F164E-65EC-446A-AA06-1D494053C13E}" dt="2021-09-14T18:13:06.359" v="9018" actId="1035"/>
          <ac:spMkLst>
            <pc:docMk/>
            <pc:sldMk cId="3177726780" sldId="264"/>
            <ac:spMk id="40" creationId="{6A803D8D-DA03-4076-931E-735576368469}"/>
          </ac:spMkLst>
        </pc:spChg>
        <pc:spChg chg="mod ord topLvl">
          <ac:chgData name="Aniket Chhabra" userId="598e0514-bef3-4e71-b6aa-f2edd6441cff" providerId="ADAL" clId="{429F164E-65EC-446A-AA06-1D494053C13E}" dt="2021-09-14T16:12:03.146" v="5418" actId="113"/>
          <ac:spMkLst>
            <pc:docMk/>
            <pc:sldMk cId="3177726780" sldId="264"/>
            <ac:spMk id="41" creationId="{702EB72C-A5D2-41F3-AD0B-552341136547}"/>
          </ac:spMkLst>
        </pc:spChg>
        <pc:spChg chg="mod ord topLvl">
          <ac:chgData name="Aniket Chhabra" userId="598e0514-bef3-4e71-b6aa-f2edd6441cff" providerId="ADAL" clId="{429F164E-65EC-446A-AA06-1D494053C13E}" dt="2021-09-14T16:11:43.666" v="5408" actId="14100"/>
          <ac:spMkLst>
            <pc:docMk/>
            <pc:sldMk cId="3177726780" sldId="264"/>
            <ac:spMk id="42" creationId="{F95A0269-A848-47EC-9D99-3A5930D0727C}"/>
          </ac:spMkLst>
        </pc:spChg>
        <pc:spChg chg="mod ord topLvl">
          <ac:chgData name="Aniket Chhabra" userId="598e0514-bef3-4e71-b6aa-f2edd6441cff" providerId="ADAL" clId="{429F164E-65EC-446A-AA06-1D494053C13E}" dt="2021-09-14T16:11:35.026" v="5403" actId="113"/>
          <ac:spMkLst>
            <pc:docMk/>
            <pc:sldMk cId="3177726780" sldId="264"/>
            <ac:spMk id="43" creationId="{9A50605A-BC5F-4BD6-A0C7-99B489C68C72}"/>
          </ac:spMkLst>
        </pc:spChg>
        <pc:spChg chg="mod ord topLvl">
          <ac:chgData name="Aniket Chhabra" userId="598e0514-bef3-4e71-b6aa-f2edd6441cff" providerId="ADAL" clId="{429F164E-65EC-446A-AA06-1D494053C13E}" dt="2021-09-14T16:11:31.419" v="5402" actId="113"/>
          <ac:spMkLst>
            <pc:docMk/>
            <pc:sldMk cId="3177726780" sldId="264"/>
            <ac:spMk id="44" creationId="{8E60F117-4222-4353-9769-AC236F18884E}"/>
          </ac:spMkLst>
        </pc:spChg>
        <pc:spChg chg="mod ord topLvl">
          <ac:chgData name="Aniket Chhabra" userId="598e0514-bef3-4e71-b6aa-f2edd6441cff" providerId="ADAL" clId="{429F164E-65EC-446A-AA06-1D494053C13E}" dt="2021-09-14T16:11:50.402" v="5411" actId="113"/>
          <ac:spMkLst>
            <pc:docMk/>
            <pc:sldMk cId="3177726780" sldId="264"/>
            <ac:spMk id="45" creationId="{E0BEEBFF-5742-46BB-BB7D-64D566E7EC4D}"/>
          </ac:spMkLst>
        </pc:spChg>
        <pc:spChg chg="mod ord topLvl">
          <ac:chgData name="Aniket Chhabra" userId="598e0514-bef3-4e71-b6aa-f2edd6441cff" providerId="ADAL" clId="{429F164E-65EC-446A-AA06-1D494053C13E}" dt="2021-09-14T16:11:52.737" v="5412" actId="113"/>
          <ac:spMkLst>
            <pc:docMk/>
            <pc:sldMk cId="3177726780" sldId="264"/>
            <ac:spMk id="46" creationId="{353013D2-2CFA-4081-AC03-59178E7644FC}"/>
          </ac:spMkLst>
        </pc:spChg>
        <pc:spChg chg="mod ord topLvl">
          <ac:chgData name="Aniket Chhabra" userId="598e0514-bef3-4e71-b6aa-f2edd6441cff" providerId="ADAL" clId="{429F164E-65EC-446A-AA06-1D494053C13E}" dt="2021-09-14T16:11:48.099" v="5410" actId="14100"/>
          <ac:spMkLst>
            <pc:docMk/>
            <pc:sldMk cId="3177726780" sldId="264"/>
            <ac:spMk id="47" creationId="{014AF6EC-3F8E-4024-BD4C-47E491544534}"/>
          </ac:spMkLst>
        </pc:spChg>
        <pc:spChg chg="mod ord topLvl">
          <ac:chgData name="Aniket Chhabra" userId="598e0514-bef3-4e71-b6aa-f2edd6441cff" providerId="ADAL" clId="{429F164E-65EC-446A-AA06-1D494053C13E}" dt="2021-09-14T16:13:09.483" v="5435" actId="404"/>
          <ac:spMkLst>
            <pc:docMk/>
            <pc:sldMk cId="3177726780" sldId="264"/>
            <ac:spMk id="48" creationId="{152229F1-8A72-48E7-9782-74EDC0A603B7}"/>
          </ac:spMkLst>
        </pc:spChg>
        <pc:spChg chg="mod ord topLvl">
          <ac:chgData name="Aniket Chhabra" userId="598e0514-bef3-4e71-b6aa-f2edd6441cff" providerId="ADAL" clId="{429F164E-65EC-446A-AA06-1D494053C13E}" dt="2021-09-14T16:13:03.487" v="5432" actId="404"/>
          <ac:spMkLst>
            <pc:docMk/>
            <pc:sldMk cId="3177726780" sldId="264"/>
            <ac:spMk id="49" creationId="{73B0BC0F-BB53-4720-B1A3-EFE9B3C02A2B}"/>
          </ac:spMkLst>
        </pc:spChg>
        <pc:spChg chg="mod ord topLvl">
          <ac:chgData name="Aniket Chhabra" userId="598e0514-bef3-4e71-b6aa-f2edd6441cff" providerId="ADAL" clId="{429F164E-65EC-446A-AA06-1D494053C13E}" dt="2021-09-14T16:13:07.777" v="5434" actId="404"/>
          <ac:spMkLst>
            <pc:docMk/>
            <pc:sldMk cId="3177726780" sldId="264"/>
            <ac:spMk id="50" creationId="{66754F69-32EC-47B2-8EA3-63B12CA25458}"/>
          </ac:spMkLst>
        </pc:spChg>
        <pc:spChg chg="mod ord topLvl">
          <ac:chgData name="Aniket Chhabra" userId="598e0514-bef3-4e71-b6aa-f2edd6441cff" providerId="ADAL" clId="{429F164E-65EC-446A-AA06-1D494053C13E}" dt="2021-09-14T16:13:05.504" v="5433" actId="404"/>
          <ac:spMkLst>
            <pc:docMk/>
            <pc:sldMk cId="3177726780" sldId="264"/>
            <ac:spMk id="51" creationId="{CF836BA0-270F-410A-AB06-F8DC7CF33B31}"/>
          </ac:spMkLst>
        </pc:spChg>
        <pc:spChg chg="add del mod">
          <ac:chgData name="Aniket Chhabra" userId="598e0514-bef3-4e71-b6aa-f2edd6441cff" providerId="ADAL" clId="{429F164E-65EC-446A-AA06-1D494053C13E}" dt="2021-09-14T07:48:39.845" v="2705" actId="478"/>
          <ac:spMkLst>
            <pc:docMk/>
            <pc:sldMk cId="3177726780" sldId="264"/>
            <ac:spMk id="52" creationId="{862A6018-9579-4659-8BE1-73CC2A7B289F}"/>
          </ac:spMkLst>
        </pc:spChg>
        <pc:spChg chg="add mod">
          <ac:chgData name="Aniket Chhabra" userId="598e0514-bef3-4e71-b6aa-f2edd6441cff" providerId="ADAL" clId="{429F164E-65EC-446A-AA06-1D494053C13E}" dt="2021-09-14T16:12:44.339" v="5428" actId="403"/>
          <ac:spMkLst>
            <pc:docMk/>
            <pc:sldMk cId="3177726780" sldId="264"/>
            <ac:spMk id="52" creationId="{96504FE5-4130-461F-BE67-7EF7D797C450}"/>
          </ac:spMkLst>
        </pc:spChg>
        <pc:spChg chg="add del mod">
          <ac:chgData name="Aniket Chhabra" userId="598e0514-bef3-4e71-b6aa-f2edd6441cff" providerId="ADAL" clId="{429F164E-65EC-446A-AA06-1D494053C13E}" dt="2021-09-14T07:48:51.137" v="2709" actId="478"/>
          <ac:spMkLst>
            <pc:docMk/>
            <pc:sldMk cId="3177726780" sldId="264"/>
            <ac:spMk id="54" creationId="{5D17BD03-B450-4544-9927-F4D959A64A9F}"/>
          </ac:spMkLst>
        </pc:spChg>
        <pc:spChg chg="add del mod">
          <ac:chgData name="Aniket Chhabra" userId="598e0514-bef3-4e71-b6aa-f2edd6441cff" providerId="ADAL" clId="{429F164E-65EC-446A-AA06-1D494053C13E}" dt="2021-09-14T07:48:48.767" v="2708" actId="478"/>
          <ac:spMkLst>
            <pc:docMk/>
            <pc:sldMk cId="3177726780" sldId="264"/>
            <ac:spMk id="196" creationId="{00000000-0000-0000-0000-000000000000}"/>
          </ac:spMkLst>
        </pc:spChg>
        <pc:spChg chg="mod ord">
          <ac:chgData name="Aniket Chhabra" userId="598e0514-bef3-4e71-b6aa-f2edd6441cff" providerId="ADAL" clId="{429F164E-65EC-446A-AA06-1D494053C13E}" dt="2021-09-14T16:03:47.849" v="5108"/>
          <ac:spMkLst>
            <pc:docMk/>
            <pc:sldMk cId="3177726780" sldId="264"/>
            <ac:spMk id="197" creationId="{00000000-0000-0000-0000-000000000000}"/>
          </ac:spMkLst>
        </pc:spChg>
        <pc:grpChg chg="del mod ord">
          <ac:chgData name="Aniket Chhabra" userId="598e0514-bef3-4e71-b6aa-f2edd6441cff" providerId="ADAL" clId="{429F164E-65EC-446A-AA06-1D494053C13E}" dt="2021-09-14T16:00:00.567" v="4828" actId="165"/>
          <ac:grpSpMkLst>
            <pc:docMk/>
            <pc:sldMk cId="3177726780" sldId="264"/>
            <ac:grpSpMk id="6" creationId="{C2E46DA4-80BD-4E0B-AB17-FF3EEFECC39B}"/>
          </ac:grpSpMkLst>
        </pc:grpChg>
        <pc:graphicFrameChg chg="mod">
          <ac:chgData name="Aniket Chhabra" userId="598e0514-bef3-4e71-b6aa-f2edd6441cff" providerId="ADAL" clId="{429F164E-65EC-446A-AA06-1D494053C13E}" dt="2021-09-14T16:03:47.880" v="5202"/>
          <ac:graphicFrameMkLst>
            <pc:docMk/>
            <pc:sldMk cId="3177726780" sldId="264"/>
            <ac:graphicFrameMk id="2" creationId="{9B467519-EC5F-4820-A505-DFE17C41ADE4}"/>
          </ac:graphicFrameMkLst>
        </pc:graphicFrameChg>
      </pc:sldChg>
      <pc:sldChg chg="del ord">
        <pc:chgData name="Aniket Chhabra" userId="598e0514-bef3-4e71-b6aa-f2edd6441cff" providerId="ADAL" clId="{429F164E-65EC-446A-AA06-1D494053C13E}" dt="2021-09-15T02:31:41.579" v="9806" actId="47"/>
        <pc:sldMkLst>
          <pc:docMk/>
          <pc:sldMk cId="1087190690" sldId="265"/>
        </pc:sldMkLst>
      </pc:sldChg>
      <pc:sldChg chg="addSp delSp modSp mod">
        <pc:chgData name="Aniket Chhabra" userId="598e0514-bef3-4e71-b6aa-f2edd6441cff" providerId="ADAL" clId="{429F164E-65EC-446A-AA06-1D494053C13E}" dt="2021-09-15T03:45:09.496" v="11816" actId="478"/>
        <pc:sldMkLst>
          <pc:docMk/>
          <pc:sldMk cId="3609713615" sldId="266"/>
        </pc:sldMkLst>
        <pc:spChg chg="add del mod ord">
          <ac:chgData name="Aniket Chhabra" userId="598e0514-bef3-4e71-b6aa-f2edd6441cff" providerId="ADAL" clId="{429F164E-65EC-446A-AA06-1D494053C13E}" dt="2021-09-14T16:18:16.259" v="5459" actId="207"/>
          <ac:spMkLst>
            <pc:docMk/>
            <pc:sldMk cId="3609713615" sldId="266"/>
            <ac:spMk id="2" creationId="{FEA6E10F-ADFD-4421-9606-4D79C57BB432}"/>
          </ac:spMkLst>
        </pc:spChg>
        <pc:spChg chg="add del mod ord">
          <ac:chgData name="Aniket Chhabra" userId="598e0514-bef3-4e71-b6aa-f2edd6441cff" providerId="ADAL" clId="{429F164E-65EC-446A-AA06-1D494053C13E}" dt="2021-09-14T16:14:25.827" v="5441" actId="1076"/>
          <ac:spMkLst>
            <pc:docMk/>
            <pc:sldMk cId="3609713615" sldId="266"/>
            <ac:spMk id="3" creationId="{7F824BA8-8A2F-4093-85EF-769AB6EBE9D1}"/>
          </ac:spMkLst>
        </pc:spChg>
        <pc:spChg chg="add del mod ord">
          <ac:chgData name="Aniket Chhabra" userId="598e0514-bef3-4e71-b6aa-f2edd6441cff" providerId="ADAL" clId="{429F164E-65EC-446A-AA06-1D494053C13E}" dt="2021-09-14T06:15:13.936" v="1806" actId="478"/>
          <ac:spMkLst>
            <pc:docMk/>
            <pc:sldMk cId="3609713615" sldId="266"/>
            <ac:spMk id="5" creationId="{84532BC5-61E1-444D-8AC7-3055701A4101}"/>
          </ac:spMkLst>
        </pc:spChg>
        <pc:spChg chg="add del mod">
          <ac:chgData name="Aniket Chhabra" userId="598e0514-bef3-4e71-b6aa-f2edd6441cff" providerId="ADAL" clId="{429F164E-65EC-446A-AA06-1D494053C13E}" dt="2021-09-14T16:18:30.317" v="5461" actId="14100"/>
          <ac:spMkLst>
            <pc:docMk/>
            <pc:sldMk cId="3609713615" sldId="266"/>
            <ac:spMk id="10" creationId="{172A2EFF-F65F-492C-9D82-E9EE0AA9B4AC}"/>
          </ac:spMkLst>
        </pc:spChg>
        <pc:spChg chg="add del mod ord">
          <ac:chgData name="Aniket Chhabra" userId="598e0514-bef3-4e71-b6aa-f2edd6441cff" providerId="ADAL" clId="{429F164E-65EC-446A-AA06-1D494053C13E}" dt="2021-09-14T06:15:13.936" v="1806" actId="478"/>
          <ac:spMkLst>
            <pc:docMk/>
            <pc:sldMk cId="3609713615" sldId="266"/>
            <ac:spMk id="14" creationId="{E8579608-29AF-4065-89FC-057DEACCF0BE}"/>
          </ac:spMkLst>
        </pc:spChg>
        <pc:spChg chg="add del mod ord">
          <ac:chgData name="Aniket Chhabra" userId="598e0514-bef3-4e71-b6aa-f2edd6441cff" providerId="ADAL" clId="{429F164E-65EC-446A-AA06-1D494053C13E}" dt="2021-09-14T16:16:16.572" v="5450" actId="207"/>
          <ac:spMkLst>
            <pc:docMk/>
            <pc:sldMk cId="3609713615" sldId="266"/>
            <ac:spMk id="16" creationId="{72710477-F49F-40AC-BDCC-11FB7FAFA45B}"/>
          </ac:spMkLst>
        </pc:spChg>
        <pc:spChg chg="add del mod ord">
          <ac:chgData name="Aniket Chhabra" userId="598e0514-bef3-4e71-b6aa-f2edd6441cff" providerId="ADAL" clId="{429F164E-65EC-446A-AA06-1D494053C13E}" dt="2021-09-14T06:15:13.936" v="1806" actId="478"/>
          <ac:spMkLst>
            <pc:docMk/>
            <pc:sldMk cId="3609713615" sldId="266"/>
            <ac:spMk id="17" creationId="{A2D40FC4-FF64-4155-BF3C-FE6DA66E4AD6}"/>
          </ac:spMkLst>
        </pc:spChg>
        <pc:spChg chg="add del mod ord">
          <ac:chgData name="Aniket Chhabra" userId="598e0514-bef3-4e71-b6aa-f2edd6441cff" providerId="ADAL" clId="{429F164E-65EC-446A-AA06-1D494053C13E}" dt="2021-09-14T06:15:13.936" v="1806" actId="478"/>
          <ac:spMkLst>
            <pc:docMk/>
            <pc:sldMk cId="3609713615" sldId="266"/>
            <ac:spMk id="18" creationId="{4E2296E3-90F2-42F3-967D-BFF571DFC87F}"/>
          </ac:spMkLst>
        </pc:spChg>
        <pc:spChg chg="mod">
          <ac:chgData name="Aniket Chhabra" userId="598e0514-bef3-4e71-b6aa-f2edd6441cff" providerId="ADAL" clId="{429F164E-65EC-446A-AA06-1D494053C13E}" dt="2021-09-14T05:22:55.777" v="11" actId="164"/>
          <ac:spMkLst>
            <pc:docMk/>
            <pc:sldMk cId="3609713615" sldId="266"/>
            <ac:spMk id="19" creationId="{9D057A25-DB78-4621-9B08-20CF23FCBB6B}"/>
          </ac:spMkLst>
        </pc:spChg>
        <pc:spChg chg="mod">
          <ac:chgData name="Aniket Chhabra" userId="598e0514-bef3-4e71-b6aa-f2edd6441cff" providerId="ADAL" clId="{429F164E-65EC-446A-AA06-1D494053C13E}" dt="2021-09-14T05:22:55.777" v="11" actId="164"/>
          <ac:spMkLst>
            <pc:docMk/>
            <pc:sldMk cId="3609713615" sldId="266"/>
            <ac:spMk id="20" creationId="{7031E006-8DCE-4786-8083-594F6995E590}"/>
          </ac:spMkLst>
        </pc:spChg>
        <pc:spChg chg="del mod ord">
          <ac:chgData name="Aniket Chhabra" userId="598e0514-bef3-4e71-b6aa-f2edd6441cff" providerId="ADAL" clId="{429F164E-65EC-446A-AA06-1D494053C13E}" dt="2021-09-14T05:24:02.073" v="133" actId="478"/>
          <ac:spMkLst>
            <pc:docMk/>
            <pc:sldMk cId="3609713615" sldId="266"/>
            <ac:spMk id="21" creationId="{118AE4E1-A870-4927-BF2A-E9253878AEEC}"/>
          </ac:spMkLst>
        </pc:spChg>
        <pc:spChg chg="del mod ord">
          <ac:chgData name="Aniket Chhabra" userId="598e0514-bef3-4e71-b6aa-f2edd6441cff" providerId="ADAL" clId="{429F164E-65EC-446A-AA06-1D494053C13E}" dt="2021-09-14T05:24:02.073" v="133" actId="478"/>
          <ac:spMkLst>
            <pc:docMk/>
            <pc:sldMk cId="3609713615" sldId="266"/>
            <ac:spMk id="22" creationId="{B4750496-7C05-4130-B5AB-1A16F701DA72}"/>
          </ac:spMkLst>
        </pc:spChg>
        <pc:spChg chg="mod">
          <ac:chgData name="Aniket Chhabra" userId="598e0514-bef3-4e71-b6aa-f2edd6441cff" providerId="ADAL" clId="{429F164E-65EC-446A-AA06-1D494053C13E}" dt="2021-09-14T05:23:16.455" v="18" actId="164"/>
          <ac:spMkLst>
            <pc:docMk/>
            <pc:sldMk cId="3609713615" sldId="266"/>
            <ac:spMk id="23" creationId="{48AC8755-F0D9-48BD-BC2C-D63BFBC42947}"/>
          </ac:spMkLst>
        </pc:spChg>
        <pc:spChg chg="mod">
          <ac:chgData name="Aniket Chhabra" userId="598e0514-bef3-4e71-b6aa-f2edd6441cff" providerId="ADAL" clId="{429F164E-65EC-446A-AA06-1D494053C13E}" dt="2021-09-14T05:23:16.455" v="18" actId="164"/>
          <ac:spMkLst>
            <pc:docMk/>
            <pc:sldMk cId="3609713615" sldId="266"/>
            <ac:spMk id="24" creationId="{C2A41250-8151-4E08-AEE2-EE2E861119BD}"/>
          </ac:spMkLst>
        </pc:spChg>
        <pc:spChg chg="del mod">
          <ac:chgData name="Aniket Chhabra" userId="598e0514-bef3-4e71-b6aa-f2edd6441cff" providerId="ADAL" clId="{429F164E-65EC-446A-AA06-1D494053C13E}" dt="2021-09-14T05:23:26.410" v="22" actId="478"/>
          <ac:spMkLst>
            <pc:docMk/>
            <pc:sldMk cId="3609713615" sldId="266"/>
            <ac:spMk id="25" creationId="{D97929E0-36BE-42BA-A459-DE4C6A204053}"/>
          </ac:spMkLst>
        </pc:spChg>
        <pc:spChg chg="del">
          <ac:chgData name="Aniket Chhabra" userId="598e0514-bef3-4e71-b6aa-f2edd6441cff" providerId="ADAL" clId="{429F164E-65EC-446A-AA06-1D494053C13E}" dt="2021-09-14T05:23:26.410" v="22" actId="478"/>
          <ac:spMkLst>
            <pc:docMk/>
            <pc:sldMk cId="3609713615" sldId="266"/>
            <ac:spMk id="26" creationId="{3106476D-911F-45A2-9AE2-3DDD417D326A}"/>
          </ac:spMkLst>
        </pc:spChg>
        <pc:spChg chg="add del mod ord">
          <ac:chgData name="Aniket Chhabra" userId="598e0514-bef3-4e71-b6aa-f2edd6441cff" providerId="ADAL" clId="{429F164E-65EC-446A-AA06-1D494053C13E}" dt="2021-09-14T16:19:34.734" v="5471" actId="207"/>
          <ac:spMkLst>
            <pc:docMk/>
            <pc:sldMk cId="3609713615" sldId="266"/>
            <ac:spMk id="27" creationId="{71BEC145-EA83-461B-A3BE-B039A4553A12}"/>
          </ac:spMkLst>
        </pc:spChg>
        <pc:spChg chg="add del mod ord">
          <ac:chgData name="Aniket Chhabra" userId="598e0514-bef3-4e71-b6aa-f2edd6441cff" providerId="ADAL" clId="{429F164E-65EC-446A-AA06-1D494053C13E}" dt="2021-09-14T16:15:28.907" v="5448" actId="207"/>
          <ac:spMkLst>
            <pc:docMk/>
            <pc:sldMk cId="3609713615" sldId="266"/>
            <ac:spMk id="28" creationId="{11B41C6E-F38D-4019-B6C6-67D616337604}"/>
          </ac:spMkLst>
        </pc:spChg>
        <pc:spChg chg="add del mod ord">
          <ac:chgData name="Aniket Chhabra" userId="598e0514-bef3-4e71-b6aa-f2edd6441cff" providerId="ADAL" clId="{429F164E-65EC-446A-AA06-1D494053C13E}" dt="2021-09-14T16:17:56.231" v="5457" actId="207"/>
          <ac:spMkLst>
            <pc:docMk/>
            <pc:sldMk cId="3609713615" sldId="266"/>
            <ac:spMk id="29" creationId="{5003F80C-519F-4330-A856-6914D228176F}"/>
          </ac:spMkLst>
        </pc:spChg>
        <pc:spChg chg="add del mod ord">
          <ac:chgData name="Aniket Chhabra" userId="598e0514-bef3-4e71-b6aa-f2edd6441cff" providerId="ADAL" clId="{429F164E-65EC-446A-AA06-1D494053C13E}" dt="2021-09-14T16:17:33.155" v="5454" actId="207"/>
          <ac:spMkLst>
            <pc:docMk/>
            <pc:sldMk cId="3609713615" sldId="266"/>
            <ac:spMk id="30" creationId="{33266534-4F9A-4BDA-9249-536763D343C3}"/>
          </ac:spMkLst>
        </pc:spChg>
        <pc:spChg chg="add del mod ord">
          <ac:chgData name="Aniket Chhabra" userId="598e0514-bef3-4e71-b6aa-f2edd6441cff" providerId="ADAL" clId="{429F164E-65EC-446A-AA06-1D494053C13E}" dt="2021-09-14T16:16:42.152" v="5452" actId="207"/>
          <ac:spMkLst>
            <pc:docMk/>
            <pc:sldMk cId="3609713615" sldId="266"/>
            <ac:spMk id="31" creationId="{69BD7B71-453B-4368-9889-A5F43C2161EE}"/>
          </ac:spMkLst>
        </pc:spChg>
        <pc:spChg chg="mod">
          <ac:chgData name="Aniket Chhabra" userId="598e0514-bef3-4e71-b6aa-f2edd6441cff" providerId="ADAL" clId="{429F164E-65EC-446A-AA06-1D494053C13E}" dt="2021-09-14T05:23:28.209" v="23"/>
          <ac:spMkLst>
            <pc:docMk/>
            <pc:sldMk cId="3609713615" sldId="266"/>
            <ac:spMk id="33" creationId="{EDBA4E10-CE35-4F49-94CF-82D2BFDE3B53}"/>
          </ac:spMkLst>
        </pc:spChg>
        <pc:spChg chg="mod">
          <ac:chgData name="Aniket Chhabra" userId="598e0514-bef3-4e71-b6aa-f2edd6441cff" providerId="ADAL" clId="{429F164E-65EC-446A-AA06-1D494053C13E}" dt="2021-09-14T05:23:28.209" v="23"/>
          <ac:spMkLst>
            <pc:docMk/>
            <pc:sldMk cId="3609713615" sldId="266"/>
            <ac:spMk id="34" creationId="{51F87EE2-3763-4957-9278-987B99406884}"/>
          </ac:spMkLst>
        </pc:spChg>
        <pc:spChg chg="mod">
          <ac:chgData name="Aniket Chhabra" userId="598e0514-bef3-4e71-b6aa-f2edd6441cff" providerId="ADAL" clId="{429F164E-65EC-446A-AA06-1D494053C13E}" dt="2021-09-14T05:24:05.443" v="134"/>
          <ac:spMkLst>
            <pc:docMk/>
            <pc:sldMk cId="3609713615" sldId="266"/>
            <ac:spMk id="36" creationId="{51AC0FED-3543-4355-BCC1-23C35DFEBB74}"/>
          </ac:spMkLst>
        </pc:spChg>
        <pc:spChg chg="mod">
          <ac:chgData name="Aniket Chhabra" userId="598e0514-bef3-4e71-b6aa-f2edd6441cff" providerId="ADAL" clId="{429F164E-65EC-446A-AA06-1D494053C13E}" dt="2021-09-14T05:24:05.443" v="134"/>
          <ac:spMkLst>
            <pc:docMk/>
            <pc:sldMk cId="3609713615" sldId="266"/>
            <ac:spMk id="37" creationId="{E6A9DDE8-8E51-43FC-BB18-EC0B445AEF54}"/>
          </ac:spMkLst>
        </pc:spChg>
        <pc:spChg chg="add del mod">
          <ac:chgData name="Aniket Chhabra" userId="598e0514-bef3-4e71-b6aa-f2edd6441cff" providerId="ADAL" clId="{429F164E-65EC-446A-AA06-1D494053C13E}" dt="2021-09-14T16:18:37.001" v="5462" actId="1076"/>
          <ac:spMkLst>
            <pc:docMk/>
            <pc:sldMk cId="3609713615" sldId="266"/>
            <ac:spMk id="38" creationId="{FEFABD17-637C-4AB1-B8DF-8BA522E004A4}"/>
          </ac:spMkLst>
        </pc:spChg>
        <pc:spChg chg="add del mod">
          <ac:chgData name="Aniket Chhabra" userId="598e0514-bef3-4e71-b6aa-f2edd6441cff" providerId="ADAL" clId="{429F164E-65EC-446A-AA06-1D494053C13E}" dt="2021-09-14T16:18:40.983" v="5463" actId="1076"/>
          <ac:spMkLst>
            <pc:docMk/>
            <pc:sldMk cId="3609713615" sldId="266"/>
            <ac:spMk id="39" creationId="{280B669C-A466-4ACF-9F33-88B68021CBEF}"/>
          </ac:spMkLst>
        </pc:spChg>
        <pc:spChg chg="add del mod">
          <ac:chgData name="Aniket Chhabra" userId="598e0514-bef3-4e71-b6aa-f2edd6441cff" providerId="ADAL" clId="{429F164E-65EC-446A-AA06-1D494053C13E}" dt="2021-09-15T03:45:09.496" v="11816" actId="478"/>
          <ac:spMkLst>
            <pc:docMk/>
            <pc:sldMk cId="3609713615" sldId="266"/>
            <ac:spMk id="50" creationId="{09D06301-587A-41CB-B30F-34C990209792}"/>
          </ac:spMkLst>
        </pc:spChg>
        <pc:spChg chg="add del mod">
          <ac:chgData name="Aniket Chhabra" userId="598e0514-bef3-4e71-b6aa-f2edd6441cff" providerId="ADAL" clId="{429F164E-65EC-446A-AA06-1D494053C13E}" dt="2021-09-14T16:18:46.663" v="5464" actId="1076"/>
          <ac:spMkLst>
            <pc:docMk/>
            <pc:sldMk cId="3609713615" sldId="266"/>
            <ac:spMk id="52" creationId="{84130CA7-A094-401E-895A-F16E8311288D}"/>
          </ac:spMkLst>
        </pc:spChg>
        <pc:spChg chg="add del mod">
          <ac:chgData name="Aniket Chhabra" userId="598e0514-bef3-4e71-b6aa-f2edd6441cff" providerId="ADAL" clId="{429F164E-65EC-446A-AA06-1D494053C13E}" dt="2021-09-15T03:44:43.329" v="11815" actId="20577"/>
          <ac:spMkLst>
            <pc:docMk/>
            <pc:sldMk cId="3609713615" sldId="266"/>
            <ac:spMk id="53" creationId="{F5A8B520-A537-4A19-A8E4-99CB262CAF99}"/>
          </ac:spMkLst>
        </pc:spChg>
        <pc:spChg chg="add del mod">
          <ac:chgData name="Aniket Chhabra" userId="598e0514-bef3-4e71-b6aa-f2edd6441cff" providerId="ADAL" clId="{429F164E-65EC-446A-AA06-1D494053C13E}" dt="2021-09-14T16:18:59.297" v="5466" actId="1076"/>
          <ac:spMkLst>
            <pc:docMk/>
            <pc:sldMk cId="3609713615" sldId="266"/>
            <ac:spMk id="54" creationId="{F2E0D561-55F2-4083-94DF-C1F914E977C7}"/>
          </ac:spMkLst>
        </pc:spChg>
        <pc:spChg chg="mod ord">
          <ac:chgData name="Aniket Chhabra" userId="598e0514-bef3-4e71-b6aa-f2edd6441cff" providerId="ADAL" clId="{429F164E-65EC-446A-AA06-1D494053C13E}" dt="2021-09-14T05:24:33.979" v="179"/>
          <ac:spMkLst>
            <pc:docMk/>
            <pc:sldMk cId="3609713615" sldId="266"/>
            <ac:spMk id="195" creationId="{00000000-0000-0000-0000-000000000000}"/>
          </ac:spMkLst>
        </pc:spChg>
        <pc:spChg chg="mod ord">
          <ac:chgData name="Aniket Chhabra" userId="598e0514-bef3-4e71-b6aa-f2edd6441cff" providerId="ADAL" clId="{429F164E-65EC-446A-AA06-1D494053C13E}" dt="2021-09-14T16:38:32.585" v="5744" actId="20577"/>
          <ac:spMkLst>
            <pc:docMk/>
            <pc:sldMk cId="3609713615" sldId="266"/>
            <ac:spMk id="197" creationId="{00000000-0000-0000-0000-000000000000}"/>
          </ac:spMkLst>
        </pc:spChg>
        <pc:grpChg chg="add del mod ord">
          <ac:chgData name="Aniket Chhabra" userId="598e0514-bef3-4e71-b6aa-f2edd6441cff" providerId="ADAL" clId="{429F164E-65EC-446A-AA06-1D494053C13E}" dt="2021-09-14T06:15:13.936" v="1806" actId="478"/>
          <ac:grpSpMkLst>
            <pc:docMk/>
            <pc:sldMk cId="3609713615" sldId="266"/>
            <ac:grpSpMk id="6" creationId="{C8BB9CF3-D0C5-4BB5-B263-28049971BBEF}"/>
          </ac:grpSpMkLst>
        </pc:grpChg>
        <pc:grpChg chg="add del mod ord">
          <ac:chgData name="Aniket Chhabra" userId="598e0514-bef3-4e71-b6aa-f2edd6441cff" providerId="ADAL" clId="{429F164E-65EC-446A-AA06-1D494053C13E}" dt="2021-09-14T06:15:13.936" v="1806" actId="478"/>
          <ac:grpSpMkLst>
            <pc:docMk/>
            <pc:sldMk cId="3609713615" sldId="266"/>
            <ac:grpSpMk id="7" creationId="{DF00166F-93EE-4360-87B1-C3162E1070D4}"/>
          </ac:grpSpMkLst>
        </pc:grpChg>
        <pc:grpChg chg="add del mod ord">
          <ac:chgData name="Aniket Chhabra" userId="598e0514-bef3-4e71-b6aa-f2edd6441cff" providerId="ADAL" clId="{429F164E-65EC-446A-AA06-1D494053C13E}" dt="2021-09-14T06:15:13.936" v="1806" actId="478"/>
          <ac:grpSpMkLst>
            <pc:docMk/>
            <pc:sldMk cId="3609713615" sldId="266"/>
            <ac:grpSpMk id="32" creationId="{301427B2-2488-4E74-A598-6EC66B09CFE7}"/>
          </ac:grpSpMkLst>
        </pc:grpChg>
        <pc:grpChg chg="add del mod ord">
          <ac:chgData name="Aniket Chhabra" userId="598e0514-bef3-4e71-b6aa-f2edd6441cff" providerId="ADAL" clId="{429F164E-65EC-446A-AA06-1D494053C13E}" dt="2021-09-14T06:15:13.936" v="1806" actId="478"/>
          <ac:grpSpMkLst>
            <pc:docMk/>
            <pc:sldMk cId="3609713615" sldId="266"/>
            <ac:grpSpMk id="35" creationId="{E035471F-927F-4E55-B67C-6ED74AAE750C}"/>
          </ac:grpSpMkLst>
        </pc:grpChg>
        <pc:graphicFrameChg chg="mod">
          <ac:chgData name="Aniket Chhabra" userId="598e0514-bef3-4e71-b6aa-f2edd6441cff" providerId="ADAL" clId="{429F164E-65EC-446A-AA06-1D494053C13E}" dt="2021-09-14T05:24:33.995" v="213"/>
          <ac:graphicFrameMkLst>
            <pc:docMk/>
            <pc:sldMk cId="3609713615" sldId="266"/>
            <ac:graphicFrameMk id="4" creationId="{A903A616-49FD-4372-A0BA-B77D6462F175}"/>
          </ac:graphicFrameMkLst>
        </pc:graphicFrameChg>
        <pc:picChg chg="add del mod">
          <ac:chgData name="Aniket Chhabra" userId="598e0514-bef3-4e71-b6aa-f2edd6441cff" providerId="ADAL" clId="{429F164E-65EC-446A-AA06-1D494053C13E}" dt="2021-09-14T16:20:49.130" v="5491" actId="1076"/>
          <ac:picMkLst>
            <pc:docMk/>
            <pc:sldMk cId="3609713615" sldId="266"/>
            <ac:picMk id="9" creationId="{4EFA8485-DF04-46EE-A87F-4B6161098C04}"/>
          </ac:picMkLst>
        </pc:picChg>
        <pc:picChg chg="add del mod">
          <ac:chgData name="Aniket Chhabra" userId="598e0514-bef3-4e71-b6aa-f2edd6441cff" providerId="ADAL" clId="{429F164E-65EC-446A-AA06-1D494053C13E}" dt="2021-09-14T16:21:06.852" v="5496" actId="1076"/>
          <ac:picMkLst>
            <pc:docMk/>
            <pc:sldMk cId="3609713615" sldId="266"/>
            <ac:picMk id="12" creationId="{BD2D16A6-6306-4FDA-BA9D-DD93D609691B}"/>
          </ac:picMkLst>
        </pc:picChg>
        <pc:picChg chg="add del mod">
          <ac:chgData name="Aniket Chhabra" userId="598e0514-bef3-4e71-b6aa-f2edd6441cff" providerId="ADAL" clId="{429F164E-65EC-446A-AA06-1D494053C13E}" dt="2021-09-14T16:21:38.063" v="5498" actId="1076"/>
          <ac:picMkLst>
            <pc:docMk/>
            <pc:sldMk cId="3609713615" sldId="266"/>
            <ac:picMk id="15" creationId="{614C96EB-2CF2-43E7-9634-9BDB87C641FD}"/>
          </ac:picMkLst>
        </pc:picChg>
        <pc:picChg chg="add del mod">
          <ac:chgData name="Aniket Chhabra" userId="598e0514-bef3-4e71-b6aa-f2edd6441cff" providerId="ADAL" clId="{429F164E-65EC-446A-AA06-1D494053C13E}" dt="2021-09-14T16:23:02.688" v="5503" actId="1076"/>
          <ac:picMkLst>
            <pc:docMk/>
            <pc:sldMk cId="3609713615" sldId="266"/>
            <ac:picMk id="41" creationId="{BE9475AF-A3AC-465C-A9D8-5E02DF03E329}"/>
          </ac:picMkLst>
        </pc:picChg>
        <pc:picChg chg="add del mod">
          <ac:chgData name="Aniket Chhabra" userId="598e0514-bef3-4e71-b6aa-f2edd6441cff" providerId="ADAL" clId="{429F164E-65EC-446A-AA06-1D494053C13E}" dt="2021-09-14T16:22:56.029" v="5501" actId="1076"/>
          <ac:picMkLst>
            <pc:docMk/>
            <pc:sldMk cId="3609713615" sldId="266"/>
            <ac:picMk id="43" creationId="{7D2DA5FA-CBC1-4EC3-84F2-762C5169124D}"/>
          </ac:picMkLst>
        </pc:picChg>
        <pc:picChg chg="add del mod">
          <ac:chgData name="Aniket Chhabra" userId="598e0514-bef3-4e71-b6aa-f2edd6441cff" providerId="ADAL" clId="{429F164E-65EC-446A-AA06-1D494053C13E}" dt="2021-09-14T16:20:38.142" v="5488" actId="1076"/>
          <ac:picMkLst>
            <pc:docMk/>
            <pc:sldMk cId="3609713615" sldId="266"/>
            <ac:picMk id="45" creationId="{DC474794-D867-4723-8C99-452307EE41FD}"/>
          </ac:picMkLst>
        </pc:picChg>
        <pc:picChg chg="add del mod">
          <ac:chgData name="Aniket Chhabra" userId="598e0514-bef3-4e71-b6aa-f2edd6441cff" providerId="ADAL" clId="{429F164E-65EC-446A-AA06-1D494053C13E}" dt="2021-09-14T16:20:26.329" v="5484" actId="1076"/>
          <ac:picMkLst>
            <pc:docMk/>
            <pc:sldMk cId="3609713615" sldId="266"/>
            <ac:picMk id="47" creationId="{808E6F6F-0C5A-406D-B5E7-3795E7BA4FE4}"/>
          </ac:picMkLst>
        </pc:picChg>
        <pc:picChg chg="add del mod">
          <ac:chgData name="Aniket Chhabra" userId="598e0514-bef3-4e71-b6aa-f2edd6441cff" providerId="ADAL" clId="{429F164E-65EC-446A-AA06-1D494053C13E}" dt="2021-09-14T16:20:32.326" v="5486" actId="1076"/>
          <ac:picMkLst>
            <pc:docMk/>
            <pc:sldMk cId="3609713615" sldId="266"/>
            <ac:picMk id="49" creationId="{ADE44337-5661-4633-AAFD-5CDD56819734}"/>
          </ac:picMkLst>
        </pc:picChg>
      </pc:sldChg>
      <pc:sldChg chg="del">
        <pc:chgData name="Aniket Chhabra" userId="598e0514-bef3-4e71-b6aa-f2edd6441cff" providerId="ADAL" clId="{429F164E-65EC-446A-AA06-1D494053C13E}" dt="2021-09-15T02:45:43.058" v="9976" actId="47"/>
        <pc:sldMkLst>
          <pc:docMk/>
          <pc:sldMk cId="3151451044" sldId="267"/>
        </pc:sldMkLst>
      </pc:sldChg>
      <pc:sldChg chg="addSp delSp modSp add del mod">
        <pc:chgData name="Aniket Chhabra" userId="598e0514-bef3-4e71-b6aa-f2edd6441cff" providerId="ADAL" clId="{429F164E-65EC-446A-AA06-1D494053C13E}" dt="2021-09-15T02:31:42.769" v="9807" actId="47"/>
        <pc:sldMkLst>
          <pc:docMk/>
          <pc:sldMk cId="2026571869" sldId="268"/>
        </pc:sldMkLst>
        <pc:spChg chg="del">
          <ac:chgData name="Aniket Chhabra" userId="598e0514-bef3-4e71-b6aa-f2edd6441cff" providerId="ADAL" clId="{429F164E-65EC-446A-AA06-1D494053C13E}" dt="2021-09-14T06:15:23.030" v="1807" actId="478"/>
          <ac:spMkLst>
            <pc:docMk/>
            <pc:sldMk cId="2026571869" sldId="268"/>
            <ac:spMk id="7" creationId="{E80323E0-CE3F-441F-B871-8B975103B689}"/>
          </ac:spMkLst>
        </pc:spChg>
        <pc:spChg chg="del">
          <ac:chgData name="Aniket Chhabra" userId="598e0514-bef3-4e71-b6aa-f2edd6441cff" providerId="ADAL" clId="{429F164E-65EC-446A-AA06-1D494053C13E}" dt="2021-09-14T06:15:23.030" v="1807" actId="478"/>
          <ac:spMkLst>
            <pc:docMk/>
            <pc:sldMk cId="2026571869" sldId="268"/>
            <ac:spMk id="8" creationId="{0EE2162D-D442-4F5F-BF69-95C53D5046E3}"/>
          </ac:spMkLst>
        </pc:spChg>
        <pc:spChg chg="del">
          <ac:chgData name="Aniket Chhabra" userId="598e0514-bef3-4e71-b6aa-f2edd6441cff" providerId="ADAL" clId="{429F164E-65EC-446A-AA06-1D494053C13E}" dt="2021-09-14T06:15:23.030" v="1807" actId="478"/>
          <ac:spMkLst>
            <pc:docMk/>
            <pc:sldMk cId="2026571869" sldId="268"/>
            <ac:spMk id="9" creationId="{53A08A5F-7D5B-4359-AAA8-01E1D160BFDF}"/>
          </ac:spMkLst>
        </pc:spChg>
        <pc:spChg chg="del">
          <ac:chgData name="Aniket Chhabra" userId="598e0514-bef3-4e71-b6aa-f2edd6441cff" providerId="ADAL" clId="{429F164E-65EC-446A-AA06-1D494053C13E}" dt="2021-09-14T06:15:23.030" v="1807" actId="478"/>
          <ac:spMkLst>
            <pc:docMk/>
            <pc:sldMk cId="2026571869" sldId="268"/>
            <ac:spMk id="10" creationId="{D24BE5FB-2FD0-4376-9237-B2BE621D1F4B}"/>
          </ac:spMkLst>
        </pc:spChg>
        <pc:spChg chg="del">
          <ac:chgData name="Aniket Chhabra" userId="598e0514-bef3-4e71-b6aa-f2edd6441cff" providerId="ADAL" clId="{429F164E-65EC-446A-AA06-1D494053C13E}" dt="2021-09-14T06:15:23.030" v="1807" actId="478"/>
          <ac:spMkLst>
            <pc:docMk/>
            <pc:sldMk cId="2026571869" sldId="268"/>
            <ac:spMk id="11" creationId="{D8900D7E-271B-4E33-9437-8522A2861D27}"/>
          </ac:spMkLst>
        </pc:spChg>
        <pc:spChg chg="add del mod">
          <ac:chgData name="Aniket Chhabra" userId="598e0514-bef3-4e71-b6aa-f2edd6441cff" providerId="ADAL" clId="{429F164E-65EC-446A-AA06-1D494053C13E}" dt="2021-09-14T08:54:40.642" v="3822" actId="21"/>
          <ac:spMkLst>
            <pc:docMk/>
            <pc:sldMk cId="2026571869" sldId="268"/>
            <ac:spMk id="12" creationId="{91C5FFF8-3BE3-4EB0-9E44-435317CD5555}"/>
          </ac:spMkLst>
        </pc:spChg>
        <pc:spChg chg="mod">
          <ac:chgData name="Aniket Chhabra" userId="598e0514-bef3-4e71-b6aa-f2edd6441cff" providerId="ADAL" clId="{429F164E-65EC-446A-AA06-1D494053C13E}" dt="2021-09-14T07:20:35.471" v="1887" actId="20577"/>
          <ac:spMkLst>
            <pc:docMk/>
            <pc:sldMk cId="2026571869" sldId="268"/>
            <ac:spMk id="197" creationId="{00000000-0000-0000-0000-000000000000}"/>
          </ac:spMkLst>
        </pc:spChg>
        <pc:graphicFrameChg chg="del">
          <ac:chgData name="Aniket Chhabra" userId="598e0514-bef3-4e71-b6aa-f2edd6441cff" providerId="ADAL" clId="{429F164E-65EC-446A-AA06-1D494053C13E}" dt="2021-09-14T06:15:25.025" v="1808" actId="478"/>
          <ac:graphicFrameMkLst>
            <pc:docMk/>
            <pc:sldMk cId="2026571869" sldId="268"/>
            <ac:graphicFrameMk id="6" creationId="{703E2EDD-63BB-491E-B973-27DC64CD8DAD}"/>
          </ac:graphicFrameMkLst>
        </pc:graphicFrameChg>
        <pc:picChg chg="add mod">
          <ac:chgData name="Aniket Chhabra" userId="598e0514-bef3-4e71-b6aa-f2edd6441cff" providerId="ADAL" clId="{429F164E-65EC-446A-AA06-1D494053C13E}" dt="2021-09-14T07:22:48.127" v="1895" actId="1076"/>
          <ac:picMkLst>
            <pc:docMk/>
            <pc:sldMk cId="2026571869" sldId="268"/>
            <ac:picMk id="3" creationId="{46625E66-7234-41C1-BC09-5D45FB786088}"/>
          </ac:picMkLst>
        </pc:picChg>
      </pc:sldChg>
      <pc:sldChg chg="modSp add del mod">
        <pc:chgData name="Aniket Chhabra" userId="598e0514-bef3-4e71-b6aa-f2edd6441cff" providerId="ADAL" clId="{429F164E-65EC-446A-AA06-1D494053C13E}" dt="2021-09-14T06:15:12.703" v="1805"/>
        <pc:sldMkLst>
          <pc:docMk/>
          <pc:sldMk cId="151110358" sldId="269"/>
        </pc:sldMkLst>
        <pc:spChg chg="mod">
          <ac:chgData name="Aniket Chhabra" userId="598e0514-bef3-4e71-b6aa-f2edd6441cff" providerId="ADAL" clId="{429F164E-65EC-446A-AA06-1D494053C13E}" dt="2021-09-14T06:15:10.185" v="1804" actId="20577"/>
          <ac:spMkLst>
            <pc:docMk/>
            <pc:sldMk cId="151110358" sldId="269"/>
            <ac:spMk id="197" creationId="{00000000-0000-0000-0000-000000000000}"/>
          </ac:spMkLst>
        </pc:spChg>
      </pc:sldChg>
      <pc:sldChg chg="addSp delSp modSp add mod ord">
        <pc:chgData name="Aniket Chhabra" userId="598e0514-bef3-4e71-b6aa-f2edd6441cff" providerId="ADAL" clId="{429F164E-65EC-446A-AA06-1D494053C13E}" dt="2021-09-15T04:06:55.368" v="11949" actId="20577"/>
        <pc:sldMkLst>
          <pc:docMk/>
          <pc:sldMk cId="2148513380" sldId="269"/>
        </pc:sldMkLst>
        <pc:spChg chg="add del mod">
          <ac:chgData name="Aniket Chhabra" userId="598e0514-bef3-4e71-b6aa-f2edd6441cff" providerId="ADAL" clId="{429F164E-65EC-446A-AA06-1D494053C13E}" dt="2021-09-14T16:33:41.062" v="5668" actId="478"/>
          <ac:spMkLst>
            <pc:docMk/>
            <pc:sldMk cId="2148513380" sldId="269"/>
            <ac:spMk id="3" creationId="{9C00DD4C-E1C6-4A1E-BE15-84A02BE0473C}"/>
          </ac:spMkLst>
        </pc:spChg>
        <pc:spChg chg="add del mod">
          <ac:chgData name="Aniket Chhabra" userId="598e0514-bef3-4e71-b6aa-f2edd6441cff" providerId="ADAL" clId="{429F164E-65EC-446A-AA06-1D494053C13E}" dt="2021-09-14T08:53:33.700" v="3813"/>
          <ac:spMkLst>
            <pc:docMk/>
            <pc:sldMk cId="2148513380" sldId="269"/>
            <ac:spMk id="5" creationId="{CB62336F-85B2-43A0-A977-A1BAC88462DF}"/>
          </ac:spMkLst>
        </pc:spChg>
        <pc:spChg chg="add del mod">
          <ac:chgData name="Aniket Chhabra" userId="598e0514-bef3-4e71-b6aa-f2edd6441cff" providerId="ADAL" clId="{429F164E-65EC-446A-AA06-1D494053C13E}" dt="2021-09-14T16:33:30.694" v="5661" actId="478"/>
          <ac:spMkLst>
            <pc:docMk/>
            <pc:sldMk cId="2148513380" sldId="269"/>
            <ac:spMk id="7" creationId="{3B5ADAB5-3248-43A4-9100-0B7EACC70D8C}"/>
          </ac:spMkLst>
        </pc:spChg>
        <pc:spChg chg="add mod">
          <ac:chgData name="Aniket Chhabra" userId="598e0514-bef3-4e71-b6aa-f2edd6441cff" providerId="ADAL" clId="{429F164E-65EC-446A-AA06-1D494053C13E}" dt="2021-09-15T04:06:55.368" v="11949" actId="20577"/>
          <ac:spMkLst>
            <pc:docMk/>
            <pc:sldMk cId="2148513380" sldId="269"/>
            <ac:spMk id="8" creationId="{3075587F-E1B3-42A1-B4AF-8B5A23933551}"/>
          </ac:spMkLst>
        </pc:spChg>
        <pc:spChg chg="mod">
          <ac:chgData name="Aniket Chhabra" userId="598e0514-bef3-4e71-b6aa-f2edd6441cff" providerId="ADAL" clId="{429F164E-65EC-446A-AA06-1D494053C13E}" dt="2021-09-14T16:33:19.698" v="5656" actId="20577"/>
          <ac:spMkLst>
            <pc:docMk/>
            <pc:sldMk cId="2148513380" sldId="269"/>
            <ac:spMk id="197" creationId="{00000000-0000-0000-0000-000000000000}"/>
          </ac:spMkLst>
        </pc:spChg>
      </pc:sldChg>
      <pc:sldChg chg="addSp delSp modSp add mod">
        <pc:chgData name="Aniket Chhabra" userId="598e0514-bef3-4e71-b6aa-f2edd6441cff" providerId="ADAL" clId="{429F164E-65EC-446A-AA06-1D494053C13E}" dt="2021-09-15T02:51:44.708" v="10149" actId="1037"/>
        <pc:sldMkLst>
          <pc:docMk/>
          <pc:sldMk cId="2705514738" sldId="270"/>
        </pc:sldMkLst>
        <pc:spChg chg="add mod">
          <ac:chgData name="Aniket Chhabra" userId="598e0514-bef3-4e71-b6aa-f2edd6441cff" providerId="ADAL" clId="{429F164E-65EC-446A-AA06-1D494053C13E}" dt="2021-09-15T02:51:44.708" v="10149" actId="1037"/>
          <ac:spMkLst>
            <pc:docMk/>
            <pc:sldMk cId="2705514738" sldId="270"/>
            <ac:spMk id="8" creationId="{D206E059-F251-443C-93FA-8DC86300F77E}"/>
          </ac:spMkLst>
        </pc:spChg>
        <pc:spChg chg="mod">
          <ac:chgData name="Aniket Chhabra" userId="598e0514-bef3-4e71-b6aa-f2edd6441cff" providerId="ADAL" clId="{429F164E-65EC-446A-AA06-1D494053C13E}" dt="2021-09-15T02:29:35.004" v="9799" actId="20577"/>
          <ac:spMkLst>
            <pc:docMk/>
            <pc:sldMk cId="2705514738" sldId="270"/>
            <ac:spMk id="197" creationId="{00000000-0000-0000-0000-000000000000}"/>
          </ac:spMkLst>
        </pc:spChg>
        <pc:picChg chg="add del mod">
          <ac:chgData name="Aniket Chhabra" userId="598e0514-bef3-4e71-b6aa-f2edd6441cff" providerId="ADAL" clId="{429F164E-65EC-446A-AA06-1D494053C13E}" dt="2021-09-15T02:29:22.224" v="9783" actId="478"/>
          <ac:picMkLst>
            <pc:docMk/>
            <pc:sldMk cId="2705514738" sldId="270"/>
            <ac:picMk id="3" creationId="{EB79EBC9-D6B5-442F-946B-CA599CA07001}"/>
          </ac:picMkLst>
        </pc:picChg>
        <pc:picChg chg="add mod">
          <ac:chgData name="Aniket Chhabra" userId="598e0514-bef3-4e71-b6aa-f2edd6441cff" providerId="ADAL" clId="{429F164E-65EC-446A-AA06-1D494053C13E}" dt="2021-09-15T02:51:44.708" v="10149" actId="1037"/>
          <ac:picMkLst>
            <pc:docMk/>
            <pc:sldMk cId="2705514738" sldId="270"/>
            <ac:picMk id="4" creationId="{CF4B735A-E0EC-45B8-96B3-86CC86EC449D}"/>
          </ac:picMkLst>
        </pc:picChg>
        <pc:picChg chg="add del mod">
          <ac:chgData name="Aniket Chhabra" userId="598e0514-bef3-4e71-b6aa-f2edd6441cff" providerId="ADAL" clId="{429F164E-65EC-446A-AA06-1D494053C13E}" dt="2021-09-15T02:51:33.521" v="10142" actId="478"/>
          <ac:picMkLst>
            <pc:docMk/>
            <pc:sldMk cId="2705514738" sldId="270"/>
            <ac:picMk id="7" creationId="{0C1962CE-18A4-4DAB-9ADB-C53C3ABEACB2}"/>
          </ac:picMkLst>
        </pc:picChg>
      </pc:sldChg>
      <pc:sldChg chg="addSp delSp modSp add del mod">
        <pc:chgData name="Aniket Chhabra" userId="598e0514-bef3-4e71-b6aa-f2edd6441cff" providerId="ADAL" clId="{429F164E-65EC-446A-AA06-1D494053C13E}" dt="2021-09-15T02:31:44.363" v="9808" actId="47"/>
        <pc:sldMkLst>
          <pc:docMk/>
          <pc:sldMk cId="3286787885" sldId="271"/>
        </pc:sldMkLst>
        <pc:spChg chg="add mod">
          <ac:chgData name="Aniket Chhabra" userId="598e0514-bef3-4e71-b6aa-f2edd6441cff" providerId="ADAL" clId="{429F164E-65EC-446A-AA06-1D494053C13E}" dt="2021-09-14T07:41:07.160" v="2575" actId="20577"/>
          <ac:spMkLst>
            <pc:docMk/>
            <pc:sldMk cId="3286787885" sldId="271"/>
            <ac:spMk id="4" creationId="{5B4EEEAE-2CBA-4965-86C1-F9594AACA4A0}"/>
          </ac:spMkLst>
        </pc:spChg>
        <pc:spChg chg="add mod">
          <ac:chgData name="Aniket Chhabra" userId="598e0514-bef3-4e71-b6aa-f2edd6441cff" providerId="ADAL" clId="{429F164E-65EC-446A-AA06-1D494053C13E}" dt="2021-09-14T07:41:28.483" v="2622" actId="20577"/>
          <ac:spMkLst>
            <pc:docMk/>
            <pc:sldMk cId="3286787885" sldId="271"/>
            <ac:spMk id="7" creationId="{C3086ADD-F804-4F12-84C7-D066E92032CA}"/>
          </ac:spMkLst>
        </pc:spChg>
        <pc:spChg chg="add mod">
          <ac:chgData name="Aniket Chhabra" userId="598e0514-bef3-4e71-b6aa-f2edd6441cff" providerId="ADAL" clId="{429F164E-65EC-446A-AA06-1D494053C13E}" dt="2021-09-14T07:41:40.062" v="2644" actId="20577"/>
          <ac:spMkLst>
            <pc:docMk/>
            <pc:sldMk cId="3286787885" sldId="271"/>
            <ac:spMk id="8" creationId="{7D99F18F-FF41-4980-82C6-789F432F32D5}"/>
          </ac:spMkLst>
        </pc:spChg>
        <pc:spChg chg="mod">
          <ac:chgData name="Aniket Chhabra" userId="598e0514-bef3-4e71-b6aa-f2edd6441cff" providerId="ADAL" clId="{429F164E-65EC-446A-AA06-1D494053C13E}" dt="2021-09-14T07:40:41.502" v="2540" actId="20577"/>
          <ac:spMkLst>
            <pc:docMk/>
            <pc:sldMk cId="3286787885" sldId="271"/>
            <ac:spMk id="195" creationId="{00000000-0000-0000-0000-000000000000}"/>
          </ac:spMkLst>
        </pc:spChg>
        <pc:spChg chg="mod">
          <ac:chgData name="Aniket Chhabra" userId="598e0514-bef3-4e71-b6aa-f2edd6441cff" providerId="ADAL" clId="{429F164E-65EC-446A-AA06-1D494053C13E}" dt="2021-09-14T07:39:15.353" v="2514" actId="20577"/>
          <ac:spMkLst>
            <pc:docMk/>
            <pc:sldMk cId="3286787885" sldId="271"/>
            <ac:spMk id="197" creationId="{00000000-0000-0000-0000-000000000000}"/>
          </ac:spMkLst>
        </pc:spChg>
        <pc:graphicFrameChg chg="add mod ord modVis">
          <ac:chgData name="Aniket Chhabra" userId="598e0514-bef3-4e71-b6aa-f2edd6441cff" providerId="ADAL" clId="{429F164E-65EC-446A-AA06-1D494053C13E}" dt="2021-09-14T07:40:41.497" v="2539" actId="14100"/>
          <ac:graphicFrameMkLst>
            <pc:docMk/>
            <pc:sldMk cId="3286787885" sldId="271"/>
            <ac:graphicFrameMk id="2" creationId="{891F3681-5FF3-4B92-A747-6E102BF6AECD}"/>
          </ac:graphicFrameMkLst>
        </pc:graphicFrameChg>
        <pc:picChg chg="del">
          <ac:chgData name="Aniket Chhabra" userId="598e0514-bef3-4e71-b6aa-f2edd6441cff" providerId="ADAL" clId="{429F164E-65EC-446A-AA06-1D494053C13E}" dt="2021-09-14T07:26:26.051" v="1896" actId="478"/>
          <ac:picMkLst>
            <pc:docMk/>
            <pc:sldMk cId="3286787885" sldId="271"/>
            <ac:picMk id="3" creationId="{46625E66-7234-41C1-BC09-5D45FB786088}"/>
          </ac:picMkLst>
        </pc:picChg>
      </pc:sldChg>
      <pc:sldChg chg="addSp modSp new add del mod">
        <pc:chgData name="Aniket Chhabra" userId="598e0514-bef3-4e71-b6aa-f2edd6441cff" providerId="ADAL" clId="{429F164E-65EC-446A-AA06-1D494053C13E}" dt="2021-09-14T07:38:56.967" v="2495" actId="47"/>
        <pc:sldMkLst>
          <pc:docMk/>
          <pc:sldMk cId="3168471305" sldId="272"/>
        </pc:sldMkLst>
        <pc:spChg chg="mod">
          <ac:chgData name="Aniket Chhabra" userId="598e0514-bef3-4e71-b6aa-f2edd6441cff" providerId="ADAL" clId="{429F164E-65EC-446A-AA06-1D494053C13E}" dt="2021-09-14T07:27:44.921" v="1943" actId="27636"/>
          <ac:spMkLst>
            <pc:docMk/>
            <pc:sldMk cId="3168471305" sldId="272"/>
            <ac:spMk id="2" creationId="{552EADFC-1934-43B4-A643-9693DF0F925C}"/>
          </ac:spMkLst>
        </pc:spChg>
        <pc:graphicFrameChg chg="add mod ord modVis">
          <ac:chgData name="Aniket Chhabra" userId="598e0514-bef3-4e71-b6aa-f2edd6441cff" providerId="ADAL" clId="{429F164E-65EC-446A-AA06-1D494053C13E}" dt="2021-09-14T07:27:45.508" v="1959"/>
          <ac:graphicFrameMkLst>
            <pc:docMk/>
            <pc:sldMk cId="3168471305" sldId="272"/>
            <ac:graphicFrameMk id="4" creationId="{5FEA98C8-B5A3-40CF-A0A8-75E246B2D636}"/>
          </ac:graphicFrameMkLst>
        </pc:graphicFrameChg>
      </pc:sldChg>
      <pc:sldChg chg="addSp delSp modSp add del mod ord modNotesTx">
        <pc:chgData name="Aniket Chhabra" userId="598e0514-bef3-4e71-b6aa-f2edd6441cff" providerId="ADAL" clId="{429F164E-65EC-446A-AA06-1D494053C13E}" dt="2021-09-15T02:54:37.282" v="10190" actId="2696"/>
        <pc:sldMkLst>
          <pc:docMk/>
          <pc:sldMk cId="3766677056" sldId="272"/>
        </pc:sldMkLst>
        <pc:spChg chg="add mod">
          <ac:chgData name="Aniket Chhabra" userId="598e0514-bef3-4e71-b6aa-f2edd6441cff" providerId="ADAL" clId="{429F164E-65EC-446A-AA06-1D494053C13E}" dt="2021-09-14T16:28:36.784" v="5566" actId="1076"/>
          <ac:spMkLst>
            <pc:docMk/>
            <pc:sldMk cId="3766677056" sldId="272"/>
            <ac:spMk id="2" creationId="{6ABEEBB2-4C6C-40E1-A62C-0B368BAB3822}"/>
          </ac:spMkLst>
        </pc:spChg>
        <pc:spChg chg="del">
          <ac:chgData name="Aniket Chhabra" userId="598e0514-bef3-4e71-b6aa-f2edd6441cff" providerId="ADAL" clId="{429F164E-65EC-446A-AA06-1D494053C13E}" dt="2021-09-14T07:46:13.831" v="2672" actId="478"/>
          <ac:spMkLst>
            <pc:docMk/>
            <pc:sldMk cId="3766677056" sldId="272"/>
            <ac:spMk id="4" creationId="{5B4EEEAE-2CBA-4965-86C1-F9594AACA4A0}"/>
          </ac:spMkLst>
        </pc:spChg>
        <pc:spChg chg="add mod">
          <ac:chgData name="Aniket Chhabra" userId="598e0514-bef3-4e71-b6aa-f2edd6441cff" providerId="ADAL" clId="{429F164E-65EC-446A-AA06-1D494053C13E}" dt="2021-09-14T16:33:02.279" v="5655" actId="14100"/>
          <ac:spMkLst>
            <pc:docMk/>
            <pc:sldMk cId="3766677056" sldId="272"/>
            <ac:spMk id="4" creationId="{BBFF29CA-A39E-4BB2-91AF-802D2C627A95}"/>
          </ac:spMkLst>
        </pc:spChg>
        <pc:spChg chg="del mod">
          <ac:chgData name="Aniket Chhabra" userId="598e0514-bef3-4e71-b6aa-f2edd6441cff" providerId="ADAL" clId="{429F164E-65EC-446A-AA06-1D494053C13E}" dt="2021-09-14T07:46:15.772" v="2674" actId="478"/>
          <ac:spMkLst>
            <pc:docMk/>
            <pc:sldMk cId="3766677056" sldId="272"/>
            <ac:spMk id="7" creationId="{C3086ADD-F804-4F12-84C7-D066E92032CA}"/>
          </ac:spMkLst>
        </pc:spChg>
        <pc:spChg chg="del">
          <ac:chgData name="Aniket Chhabra" userId="598e0514-bef3-4e71-b6aa-f2edd6441cff" providerId="ADAL" clId="{429F164E-65EC-446A-AA06-1D494053C13E}" dt="2021-09-14T07:46:17.287" v="2675" actId="478"/>
          <ac:spMkLst>
            <pc:docMk/>
            <pc:sldMk cId="3766677056" sldId="272"/>
            <ac:spMk id="8" creationId="{7D99F18F-FF41-4980-82C6-789F432F32D5}"/>
          </ac:spMkLst>
        </pc:spChg>
        <pc:spChg chg="mod topLvl">
          <ac:chgData name="Aniket Chhabra" userId="598e0514-bef3-4e71-b6aa-f2edd6441cff" providerId="ADAL" clId="{429F164E-65EC-446A-AA06-1D494053C13E}" dt="2021-09-14T16:25:13.266" v="5509" actId="207"/>
          <ac:spMkLst>
            <pc:docMk/>
            <pc:sldMk cId="3766677056" sldId="272"/>
            <ac:spMk id="10" creationId="{B9952F67-A1C0-4F6A-9476-CDF6AC5685AA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11" creationId="{D23EA611-4F5E-46D8-8780-B9571A2465C8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12" creationId="{E4BE4EA9-3E86-4B76-B2AD-CF8585DA142F}"/>
          </ac:spMkLst>
        </pc:spChg>
        <pc:spChg chg="del mod">
          <ac:chgData name="Aniket Chhabra" userId="598e0514-bef3-4e71-b6aa-f2edd6441cff" providerId="ADAL" clId="{429F164E-65EC-446A-AA06-1D494053C13E}" dt="2021-09-14T07:54:54.747" v="2840" actId="478"/>
          <ac:spMkLst>
            <pc:docMk/>
            <pc:sldMk cId="3766677056" sldId="272"/>
            <ac:spMk id="13" creationId="{535C0249-DF91-4902-8D6A-363543D59A03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14" creationId="{690D3A71-880E-4C2F-B117-EC3FB67E7053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15" creationId="{CB94D61F-F682-40D1-984F-720B57206BCC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16" creationId="{18F336B2-4379-467C-B45D-70055DE931D7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17" creationId="{654DCB30-44FF-4272-AC96-3789D0913865}"/>
          </ac:spMkLst>
        </pc:spChg>
        <pc:spChg chg="del mod">
          <ac:chgData name="Aniket Chhabra" userId="598e0514-bef3-4e71-b6aa-f2edd6441cff" providerId="ADAL" clId="{429F164E-65EC-446A-AA06-1D494053C13E}" dt="2021-09-14T07:54:52.333" v="2839" actId="478"/>
          <ac:spMkLst>
            <pc:docMk/>
            <pc:sldMk cId="3766677056" sldId="272"/>
            <ac:spMk id="18" creationId="{327E2C46-E36B-4EF0-8893-F0AA729130C1}"/>
          </ac:spMkLst>
        </pc:spChg>
        <pc:spChg chg="del mod">
          <ac:chgData name="Aniket Chhabra" userId="598e0514-bef3-4e71-b6aa-f2edd6441cff" providerId="ADAL" clId="{429F164E-65EC-446A-AA06-1D494053C13E}" dt="2021-09-14T07:54:24.446" v="2834" actId="478"/>
          <ac:spMkLst>
            <pc:docMk/>
            <pc:sldMk cId="3766677056" sldId="272"/>
            <ac:spMk id="19" creationId="{97777CF1-DD17-466D-9A81-AC4160653079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20" creationId="{015CC16B-9F51-4C17-83AB-F368EF440F65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21" creationId="{2842D80C-6D7B-4615-91E3-1AEF90E2683D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22" creationId="{CD3D6A9C-2500-4B16-ADB1-F901D87EA4E6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23" creationId="{C2FBC232-CECA-4171-9083-166D33E79657}"/>
          </ac:spMkLst>
        </pc:spChg>
        <pc:spChg chg="del mod">
          <ac:chgData name="Aniket Chhabra" userId="598e0514-bef3-4e71-b6aa-f2edd6441cff" providerId="ADAL" clId="{429F164E-65EC-446A-AA06-1D494053C13E}" dt="2021-09-14T07:54:21.169" v="2833" actId="478"/>
          <ac:spMkLst>
            <pc:docMk/>
            <pc:sldMk cId="3766677056" sldId="272"/>
            <ac:spMk id="24" creationId="{FE333A0E-E307-4A05-9170-1E3F0EECF841}"/>
          </ac:spMkLst>
        </pc:spChg>
        <pc:spChg chg="del mod">
          <ac:chgData name="Aniket Chhabra" userId="598e0514-bef3-4e71-b6aa-f2edd6441cff" providerId="ADAL" clId="{429F164E-65EC-446A-AA06-1D494053C13E}" dt="2021-09-14T07:54:56.221" v="2841" actId="478"/>
          <ac:spMkLst>
            <pc:docMk/>
            <pc:sldMk cId="3766677056" sldId="272"/>
            <ac:spMk id="25" creationId="{F570F95B-A39B-44FC-807B-B6421A1268EC}"/>
          </ac:spMkLst>
        </pc:spChg>
        <pc:spChg chg="mod topLvl">
          <ac:chgData name="Aniket Chhabra" userId="598e0514-bef3-4e71-b6aa-f2edd6441cff" providerId="ADAL" clId="{429F164E-65EC-446A-AA06-1D494053C13E}" dt="2021-09-14T16:25:50.172" v="5515" actId="113"/>
          <ac:spMkLst>
            <pc:docMk/>
            <pc:sldMk cId="3766677056" sldId="272"/>
            <ac:spMk id="26" creationId="{0BECEC7B-8EE6-4612-94EC-D1C77A86A27E}"/>
          </ac:spMkLst>
        </pc:spChg>
        <pc:spChg chg="del mod">
          <ac:chgData name="Aniket Chhabra" userId="598e0514-bef3-4e71-b6aa-f2edd6441cff" providerId="ADAL" clId="{429F164E-65EC-446A-AA06-1D494053C13E}" dt="2021-09-14T07:52:34.517" v="2798" actId="478"/>
          <ac:spMkLst>
            <pc:docMk/>
            <pc:sldMk cId="3766677056" sldId="272"/>
            <ac:spMk id="27" creationId="{83733975-FD44-4C12-BFD5-04D3860BCCF7}"/>
          </ac:spMkLst>
        </pc:spChg>
        <pc:spChg chg="mod topLvl">
          <ac:chgData name="Aniket Chhabra" userId="598e0514-bef3-4e71-b6aa-f2edd6441cff" providerId="ADAL" clId="{429F164E-65EC-446A-AA06-1D494053C13E}" dt="2021-09-14T16:26:00.153" v="5517" actId="113"/>
          <ac:spMkLst>
            <pc:docMk/>
            <pc:sldMk cId="3766677056" sldId="272"/>
            <ac:spMk id="28" creationId="{58FBF3BB-F4ED-4D71-BD7A-956A350078F5}"/>
          </ac:spMkLst>
        </pc:spChg>
        <pc:spChg chg="del mod">
          <ac:chgData name="Aniket Chhabra" userId="598e0514-bef3-4e71-b6aa-f2edd6441cff" providerId="ADAL" clId="{429F164E-65EC-446A-AA06-1D494053C13E}" dt="2021-09-14T07:54:25.965" v="2835" actId="478"/>
          <ac:spMkLst>
            <pc:docMk/>
            <pc:sldMk cId="3766677056" sldId="272"/>
            <ac:spMk id="29" creationId="{78D7C342-322F-4F0A-B393-9DBD2A952F84}"/>
          </ac:spMkLst>
        </pc:spChg>
        <pc:spChg chg="mod topLvl">
          <ac:chgData name="Aniket Chhabra" userId="598e0514-bef3-4e71-b6aa-f2edd6441cff" providerId="ADAL" clId="{429F164E-65EC-446A-AA06-1D494053C13E}" dt="2021-09-14T16:25:57.636" v="5516" actId="113"/>
          <ac:spMkLst>
            <pc:docMk/>
            <pc:sldMk cId="3766677056" sldId="272"/>
            <ac:spMk id="30" creationId="{DBC2F40B-2740-4D87-94BC-45790743C0CA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31" creationId="{AE65D082-8B76-45A2-91CA-D3C5BDE41442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32" creationId="{3FEABF8B-F8F7-4F7C-B917-15640067CCF7}"/>
          </ac:spMkLst>
        </pc:spChg>
        <pc:spChg chg="add del mod">
          <ac:chgData name="Aniket Chhabra" userId="598e0514-bef3-4e71-b6aa-f2edd6441cff" providerId="ADAL" clId="{429F164E-65EC-446A-AA06-1D494053C13E}" dt="2021-09-14T07:52:30.711" v="2796"/>
          <ac:spMkLst>
            <pc:docMk/>
            <pc:sldMk cId="3766677056" sldId="272"/>
            <ac:spMk id="33" creationId="{1DCC04C3-A894-4101-B8EE-4C91FD9DB99F}"/>
          </ac:spMkLst>
        </pc:spChg>
        <pc:spChg chg="add mod topLvl">
          <ac:chgData name="Aniket Chhabra" userId="598e0514-bef3-4e71-b6aa-f2edd6441cff" providerId="ADAL" clId="{429F164E-65EC-446A-AA06-1D494053C13E}" dt="2021-09-14T16:25:47.434" v="5514" actId="113"/>
          <ac:spMkLst>
            <pc:docMk/>
            <pc:sldMk cId="3766677056" sldId="272"/>
            <ac:spMk id="34" creationId="{32097F90-4887-4285-BB2E-C39F5344AB85}"/>
          </ac:spMkLst>
        </pc:spChg>
        <pc:spChg chg="del mod topLvl">
          <ac:chgData name="Aniket Chhabra" userId="598e0514-bef3-4e71-b6aa-f2edd6441cff" providerId="ADAL" clId="{429F164E-65EC-446A-AA06-1D494053C13E}" dt="2021-09-14T07:57:07.259" v="2867" actId="478"/>
          <ac:spMkLst>
            <pc:docMk/>
            <pc:sldMk cId="3766677056" sldId="272"/>
            <ac:spMk id="36" creationId="{A5D0EA3C-03BE-4731-9D9A-705DE93C8416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37" creationId="{684E3D2A-B81A-4580-91FB-09AA279C1C3E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38" creationId="{51B58DDE-B7DD-4BAE-B0ED-7C93587E3AFF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39" creationId="{BCDD7357-956B-41AA-9C7D-3E01B3F3A202}"/>
          </ac:spMkLst>
        </pc:spChg>
        <pc:spChg chg="del mod topLvl">
          <ac:chgData name="Aniket Chhabra" userId="598e0514-bef3-4e71-b6aa-f2edd6441cff" providerId="ADAL" clId="{429F164E-65EC-446A-AA06-1D494053C13E}" dt="2021-09-14T07:56:38.448" v="2862" actId="478"/>
          <ac:spMkLst>
            <pc:docMk/>
            <pc:sldMk cId="3766677056" sldId="272"/>
            <ac:spMk id="40" creationId="{A5FBB411-4C7C-4FB2-B3A4-0481B776BD08}"/>
          </ac:spMkLst>
        </pc:spChg>
        <pc:spChg chg="del mod topLvl">
          <ac:chgData name="Aniket Chhabra" userId="598e0514-bef3-4e71-b6aa-f2edd6441cff" providerId="ADAL" clId="{429F164E-65EC-446A-AA06-1D494053C13E}" dt="2021-09-14T07:56:38.448" v="2862" actId="478"/>
          <ac:spMkLst>
            <pc:docMk/>
            <pc:sldMk cId="3766677056" sldId="272"/>
            <ac:spMk id="41" creationId="{3003703A-6180-43C4-A080-EFEF4CB8106A}"/>
          </ac:spMkLst>
        </pc:spChg>
        <pc:spChg chg="del mod topLvl">
          <ac:chgData name="Aniket Chhabra" userId="598e0514-bef3-4e71-b6aa-f2edd6441cff" providerId="ADAL" clId="{429F164E-65EC-446A-AA06-1D494053C13E}" dt="2021-09-14T07:56:38.448" v="2862" actId="478"/>
          <ac:spMkLst>
            <pc:docMk/>
            <pc:sldMk cId="3766677056" sldId="272"/>
            <ac:spMk id="42" creationId="{04F45485-D641-476F-9EB7-3EDE02C30D94}"/>
          </ac:spMkLst>
        </pc:spChg>
        <pc:spChg chg="del mod topLvl">
          <ac:chgData name="Aniket Chhabra" userId="598e0514-bef3-4e71-b6aa-f2edd6441cff" providerId="ADAL" clId="{429F164E-65EC-446A-AA06-1D494053C13E}" dt="2021-09-14T07:56:38.448" v="2862" actId="478"/>
          <ac:spMkLst>
            <pc:docMk/>
            <pc:sldMk cId="3766677056" sldId="272"/>
            <ac:spMk id="43" creationId="{6CD60FC1-9DCB-48FB-A2A1-79471FFA128B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44" creationId="{7B683C8E-9E46-4E00-B5CB-6BA64C3D30B7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45" creationId="{4EE6557B-310A-46E4-919F-4A1EC46DF01A}"/>
          </ac:spMkLst>
        </pc:spChg>
        <pc:spChg chg="add mod">
          <ac:chgData name="Aniket Chhabra" userId="598e0514-bef3-4e71-b6aa-f2edd6441cff" providerId="ADAL" clId="{429F164E-65EC-446A-AA06-1D494053C13E}" dt="2021-09-14T16:31:03.089" v="5589" actId="1076"/>
          <ac:spMkLst>
            <pc:docMk/>
            <pc:sldMk cId="3766677056" sldId="272"/>
            <ac:spMk id="46" creationId="{7F367B04-1957-45F3-889F-9B8CA68DDA5B}"/>
          </ac:spMkLst>
        </pc:spChg>
        <pc:spChg chg="del mod topLvl">
          <ac:chgData name="Aniket Chhabra" userId="598e0514-bef3-4e71-b6aa-f2edd6441cff" providerId="ADAL" clId="{429F164E-65EC-446A-AA06-1D494053C13E}" dt="2021-09-14T08:11:44.388" v="3036" actId="478"/>
          <ac:spMkLst>
            <pc:docMk/>
            <pc:sldMk cId="3766677056" sldId="272"/>
            <ac:spMk id="46" creationId="{A0021990-39B5-4EF5-9486-2588F51B5B15}"/>
          </ac:spMkLst>
        </pc:spChg>
        <pc:spChg chg="del mod topLvl">
          <ac:chgData name="Aniket Chhabra" userId="598e0514-bef3-4e71-b6aa-f2edd6441cff" providerId="ADAL" clId="{429F164E-65EC-446A-AA06-1D494053C13E}" dt="2021-09-14T08:11:44.388" v="3036" actId="478"/>
          <ac:spMkLst>
            <pc:docMk/>
            <pc:sldMk cId="3766677056" sldId="272"/>
            <ac:spMk id="47" creationId="{4C6A92F3-30C4-4760-94BF-0A922CB6912F}"/>
          </ac:spMkLst>
        </pc:spChg>
        <pc:spChg chg="del mod topLvl">
          <ac:chgData name="Aniket Chhabra" userId="598e0514-bef3-4e71-b6aa-f2edd6441cff" providerId="ADAL" clId="{429F164E-65EC-446A-AA06-1D494053C13E}" dt="2021-09-14T08:11:44.388" v="3036" actId="478"/>
          <ac:spMkLst>
            <pc:docMk/>
            <pc:sldMk cId="3766677056" sldId="272"/>
            <ac:spMk id="48" creationId="{C66E06A4-9251-4D12-8A3A-2ED088915205}"/>
          </ac:spMkLst>
        </pc:spChg>
        <pc:spChg chg="del mod topLvl">
          <ac:chgData name="Aniket Chhabra" userId="598e0514-bef3-4e71-b6aa-f2edd6441cff" providerId="ADAL" clId="{429F164E-65EC-446A-AA06-1D494053C13E}" dt="2021-09-14T08:11:46.009" v="3037" actId="478"/>
          <ac:spMkLst>
            <pc:docMk/>
            <pc:sldMk cId="3766677056" sldId="272"/>
            <ac:spMk id="49" creationId="{1C6FE3A5-582E-4DA8-86D5-DC792542522C}"/>
          </ac:spMkLst>
        </pc:spChg>
        <pc:spChg chg="add mod">
          <ac:chgData name="Aniket Chhabra" userId="598e0514-bef3-4e71-b6aa-f2edd6441cff" providerId="ADAL" clId="{429F164E-65EC-446A-AA06-1D494053C13E}" dt="2021-09-14T16:32:57.210" v="5654" actId="6549"/>
          <ac:spMkLst>
            <pc:docMk/>
            <pc:sldMk cId="3766677056" sldId="272"/>
            <ac:spMk id="49" creationId="{75B8C76B-913F-4646-B854-91CFC1E983A2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50" creationId="{6CBDC63D-5E54-4F37-8EBE-6E5B48359DCA}"/>
          </ac:spMkLst>
        </pc:spChg>
        <pc:spChg chg="add del mod">
          <ac:chgData name="Aniket Chhabra" userId="598e0514-bef3-4e71-b6aa-f2edd6441cff" providerId="ADAL" clId="{429F164E-65EC-446A-AA06-1D494053C13E}" dt="2021-09-14T16:29:35.618" v="5577" actId="478"/>
          <ac:spMkLst>
            <pc:docMk/>
            <pc:sldMk cId="3766677056" sldId="272"/>
            <ac:spMk id="51" creationId="{241400C6-E5A9-483D-B3A4-EDC837A3B270}"/>
          </ac:spMkLst>
        </pc:spChg>
        <pc:spChg chg="del mod topLvl">
          <ac:chgData name="Aniket Chhabra" userId="598e0514-bef3-4e71-b6aa-f2edd6441cff" providerId="ADAL" clId="{429F164E-65EC-446A-AA06-1D494053C13E}" dt="2021-09-14T08:11:44.388" v="3036" actId="478"/>
          <ac:spMkLst>
            <pc:docMk/>
            <pc:sldMk cId="3766677056" sldId="272"/>
            <ac:spMk id="51" creationId="{397057BF-4BA2-422A-AFBA-CD205472BD16}"/>
          </ac:spMkLst>
        </pc:spChg>
        <pc:spChg chg="del mod topLvl">
          <ac:chgData name="Aniket Chhabra" userId="598e0514-bef3-4e71-b6aa-f2edd6441cff" providerId="ADAL" clId="{429F164E-65EC-446A-AA06-1D494053C13E}" dt="2021-09-14T08:11:44.388" v="3036" actId="478"/>
          <ac:spMkLst>
            <pc:docMk/>
            <pc:sldMk cId="3766677056" sldId="272"/>
            <ac:spMk id="52" creationId="{6F184CEF-C9E4-4216-A996-3DA2AE6813AC}"/>
          </ac:spMkLst>
        </pc:spChg>
        <pc:spChg chg="add mod">
          <ac:chgData name="Aniket Chhabra" userId="598e0514-bef3-4e71-b6aa-f2edd6441cff" providerId="ADAL" clId="{429F164E-65EC-446A-AA06-1D494053C13E}" dt="2021-09-14T16:32:37.142" v="5609" actId="1076"/>
          <ac:spMkLst>
            <pc:docMk/>
            <pc:sldMk cId="3766677056" sldId="272"/>
            <ac:spMk id="52" creationId="{FFDB6A4A-660C-4BB7-A172-2AF84D17BBC2}"/>
          </ac:spMkLst>
        </pc:spChg>
        <pc:spChg chg="mod topLvl">
          <ac:chgData name="Aniket Chhabra" userId="598e0514-bef3-4e71-b6aa-f2edd6441cff" providerId="ADAL" clId="{429F164E-65EC-446A-AA06-1D494053C13E}" dt="2021-09-14T16:26:02.730" v="5518" actId="113"/>
          <ac:spMkLst>
            <pc:docMk/>
            <pc:sldMk cId="3766677056" sldId="272"/>
            <ac:spMk id="53" creationId="{2F68424F-68EE-4210-B00D-8AEA9C6CE489}"/>
          </ac:spMkLst>
        </pc:spChg>
        <pc:spChg chg="del mod topLvl">
          <ac:chgData name="Aniket Chhabra" userId="598e0514-bef3-4e71-b6aa-f2edd6441cff" providerId="ADAL" clId="{429F164E-65EC-446A-AA06-1D494053C13E}" dt="2021-09-14T07:56:26.503" v="2861" actId="478"/>
          <ac:spMkLst>
            <pc:docMk/>
            <pc:sldMk cId="3766677056" sldId="272"/>
            <ac:spMk id="54" creationId="{8AB5CBB4-184E-4B8B-BD97-36514F07BF11}"/>
          </ac:spMkLst>
        </pc:spChg>
        <pc:spChg chg="del mod topLvl">
          <ac:chgData name="Aniket Chhabra" userId="598e0514-bef3-4e71-b6aa-f2edd6441cff" providerId="ADAL" clId="{429F164E-65EC-446A-AA06-1D494053C13E}" dt="2021-09-14T07:56:38.448" v="2862" actId="478"/>
          <ac:spMkLst>
            <pc:docMk/>
            <pc:sldMk cId="3766677056" sldId="272"/>
            <ac:spMk id="55" creationId="{510DAF77-753F-41C7-898D-8F69280A90B3}"/>
          </ac:spMkLst>
        </pc:spChg>
        <pc:spChg chg="mod topLvl">
          <ac:chgData name="Aniket Chhabra" userId="598e0514-bef3-4e71-b6aa-f2edd6441cff" providerId="ADAL" clId="{429F164E-65EC-446A-AA06-1D494053C13E}" dt="2021-09-14T16:25:43.941" v="5513" actId="113"/>
          <ac:spMkLst>
            <pc:docMk/>
            <pc:sldMk cId="3766677056" sldId="272"/>
            <ac:spMk id="56" creationId="{FD3B0B34-BF27-4875-91BE-EB526D7EF1E8}"/>
          </ac:spMkLst>
        </pc:spChg>
        <pc:spChg chg="mod topLvl">
          <ac:chgData name="Aniket Chhabra" userId="598e0514-bef3-4e71-b6aa-f2edd6441cff" providerId="ADAL" clId="{429F164E-65EC-446A-AA06-1D494053C13E}" dt="2021-09-14T16:25:25.713" v="5512" actId="207"/>
          <ac:spMkLst>
            <pc:docMk/>
            <pc:sldMk cId="3766677056" sldId="272"/>
            <ac:spMk id="57" creationId="{33FFDD06-C753-4FA9-8082-353DFB61D537}"/>
          </ac:spMkLst>
        </pc:spChg>
        <pc:spChg chg="mod topLvl">
          <ac:chgData name="Aniket Chhabra" userId="598e0514-bef3-4e71-b6aa-f2edd6441cff" providerId="ADAL" clId="{429F164E-65EC-446A-AA06-1D494053C13E}" dt="2021-09-14T16:25:20.402" v="5511" actId="207"/>
          <ac:spMkLst>
            <pc:docMk/>
            <pc:sldMk cId="3766677056" sldId="272"/>
            <ac:spMk id="58" creationId="{D9C1F1FC-110F-4FA3-938F-53A36FB930AA}"/>
          </ac:spMkLst>
        </pc:spChg>
        <pc:spChg chg="add mod topLvl">
          <ac:chgData name="Aniket Chhabra" userId="598e0514-bef3-4e71-b6aa-f2edd6441cff" providerId="ADAL" clId="{429F164E-65EC-446A-AA06-1D494053C13E}" dt="2021-09-14T16:26:05.583" v="5519" actId="113"/>
          <ac:spMkLst>
            <pc:docMk/>
            <pc:sldMk cId="3766677056" sldId="272"/>
            <ac:spMk id="59" creationId="{657AE14F-935F-4B5E-AFA1-7671C396906C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1" creationId="{FF6A165F-05D5-4C0E-B365-8AE973BA1E48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2" creationId="{704932A0-3FD9-4604-9DF0-9D98A0D3B1F9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3" creationId="{20674E64-74A2-43E7-8DED-A9B5683CE275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4" creationId="{9493E93E-5EF5-4E59-8901-434CEB7A5854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5" creationId="{ACE34AF1-9A6E-43AA-AD2F-29A8579F5545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6" creationId="{9470A175-74B5-4F05-8E2D-F7EFE6DA9D70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7" creationId="{EC363AC6-28C9-4414-BC43-FD12D5EE0DA1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8" creationId="{4CCCAF32-A0CC-49AD-893C-D100E1BBB5D3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9" creationId="{A0A27B04-454D-49AA-AD09-F4855E3465E4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70" creationId="{706CCF77-DE51-424C-8297-FEDD36F859B8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71" creationId="{AF7BE173-C5E1-4878-986B-FE645FA2C68C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72" creationId="{328FE136-D78A-47B2-9D23-66EEB84DE14F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73" creationId="{C90A97F7-A1A0-49E5-8F36-8DD3125C7C2C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74" creationId="{576F6EFE-5F13-4388-85D6-624BE801A0A9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75" creationId="{C5CD4115-12B1-4F78-952D-EA5A940CC9AA}"/>
          </ac:spMkLst>
        </pc:spChg>
        <pc:spChg chg="del mod topLvl">
          <ac:chgData name="Aniket Chhabra" userId="598e0514-bef3-4e71-b6aa-f2edd6441cff" providerId="ADAL" clId="{429F164E-65EC-446A-AA06-1D494053C13E}" dt="2021-09-14T07:59:26.499" v="2957" actId="478"/>
          <ac:spMkLst>
            <pc:docMk/>
            <pc:sldMk cId="3766677056" sldId="272"/>
            <ac:spMk id="76" creationId="{4DB5F83A-768A-441B-84F8-EC8A243102F8}"/>
          </ac:spMkLst>
        </pc:spChg>
        <pc:spChg chg="del mod topLvl">
          <ac:chgData name="Aniket Chhabra" userId="598e0514-bef3-4e71-b6aa-f2edd6441cff" providerId="ADAL" clId="{429F164E-65EC-446A-AA06-1D494053C13E}" dt="2021-09-14T07:59:26.499" v="2957" actId="478"/>
          <ac:spMkLst>
            <pc:docMk/>
            <pc:sldMk cId="3766677056" sldId="272"/>
            <ac:spMk id="77" creationId="{6E9ACEA4-A7FC-425A-A84E-ED958007CA5E}"/>
          </ac:spMkLst>
        </pc:spChg>
        <pc:spChg chg="del mod topLvl">
          <ac:chgData name="Aniket Chhabra" userId="598e0514-bef3-4e71-b6aa-f2edd6441cff" providerId="ADAL" clId="{429F164E-65EC-446A-AA06-1D494053C13E}" dt="2021-09-14T07:59:26.499" v="2957" actId="478"/>
          <ac:spMkLst>
            <pc:docMk/>
            <pc:sldMk cId="3766677056" sldId="272"/>
            <ac:spMk id="78" creationId="{A67A37B7-0757-4DF7-9215-7AE9A4FB289D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79" creationId="{8D94D944-7050-4BBF-921C-7B81841F1C87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80" creationId="{EA4FDA42-FBB6-4CAB-BB77-8779E8C312AC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81" creationId="{546AB51F-DB79-482F-BEED-30EBA268152F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82" creationId="{139AC8EA-A098-42EE-8214-1E5B2112E1C1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83" creationId="{3D5A6F2E-90C7-449F-A34E-41A1C7C8CCC1}"/>
          </ac:spMkLst>
        </pc:spChg>
        <pc:spChg chg="add del mod">
          <ac:chgData name="Aniket Chhabra" userId="598e0514-bef3-4e71-b6aa-f2edd6441cff" providerId="ADAL" clId="{429F164E-65EC-446A-AA06-1D494053C13E}" dt="2021-09-14T07:59:13.944" v="2952" actId="478"/>
          <ac:spMkLst>
            <pc:docMk/>
            <pc:sldMk cId="3766677056" sldId="272"/>
            <ac:spMk id="84" creationId="{E7479BBB-D298-4F51-883F-A1879D39EEDE}"/>
          </ac:spMkLst>
        </pc:spChg>
        <pc:spChg chg="add del mod">
          <ac:chgData name="Aniket Chhabra" userId="598e0514-bef3-4e71-b6aa-f2edd6441cff" providerId="ADAL" clId="{429F164E-65EC-446A-AA06-1D494053C13E}" dt="2021-09-14T07:59:32.248" v="2958" actId="478"/>
          <ac:spMkLst>
            <pc:docMk/>
            <pc:sldMk cId="3766677056" sldId="272"/>
            <ac:spMk id="85" creationId="{271D39A6-CBF8-4011-AC27-5455A275379E}"/>
          </ac:spMkLst>
        </pc:spChg>
        <pc:spChg chg="add 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86" creationId="{512EBE27-053C-4120-B4C9-3BC41C3DC1D8}"/>
          </ac:spMkLst>
        </pc:spChg>
        <pc:spChg chg="add 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87" creationId="{3160BFD4-7C29-4F79-9F62-AB4FBD008AE5}"/>
          </ac:spMkLst>
        </pc:spChg>
        <pc:spChg chg="add del mod">
          <ac:chgData name="Aniket Chhabra" userId="598e0514-bef3-4e71-b6aa-f2edd6441cff" providerId="ADAL" clId="{429F164E-65EC-446A-AA06-1D494053C13E}" dt="2021-09-14T07:59:32.248" v="2958" actId="478"/>
          <ac:spMkLst>
            <pc:docMk/>
            <pc:sldMk cId="3766677056" sldId="272"/>
            <ac:spMk id="88" creationId="{D2D69216-B890-46E6-92EA-1164BE7187AE}"/>
          </ac:spMkLst>
        </pc:spChg>
        <pc:spChg chg="add del mod">
          <ac:chgData name="Aniket Chhabra" userId="598e0514-bef3-4e71-b6aa-f2edd6441cff" providerId="ADAL" clId="{429F164E-65EC-446A-AA06-1D494053C13E}" dt="2021-09-14T07:59:15.429" v="2953" actId="478"/>
          <ac:spMkLst>
            <pc:docMk/>
            <pc:sldMk cId="3766677056" sldId="272"/>
            <ac:spMk id="89" creationId="{DB0E1AFC-E545-4FB5-B267-4797A2268E46}"/>
          </ac:spMkLst>
        </pc:spChg>
        <pc:spChg chg="add del mod">
          <ac:chgData name="Aniket Chhabra" userId="598e0514-bef3-4e71-b6aa-f2edd6441cff" providerId="ADAL" clId="{429F164E-65EC-446A-AA06-1D494053C13E}" dt="2021-09-14T07:59:36.837" v="2961" actId="478"/>
          <ac:spMkLst>
            <pc:docMk/>
            <pc:sldMk cId="3766677056" sldId="272"/>
            <ac:spMk id="90" creationId="{EA551AB9-8877-4164-AF1F-AF5A5BBDA0B2}"/>
          </ac:spMkLst>
        </pc:spChg>
        <pc:spChg chg="add del mod">
          <ac:chgData name="Aniket Chhabra" userId="598e0514-bef3-4e71-b6aa-f2edd6441cff" providerId="ADAL" clId="{429F164E-65EC-446A-AA06-1D494053C13E}" dt="2021-09-14T08:14:44.029" v="3097" actId="478"/>
          <ac:spMkLst>
            <pc:docMk/>
            <pc:sldMk cId="3766677056" sldId="272"/>
            <ac:spMk id="91" creationId="{56C6BCEC-E42F-4ACC-9870-A49409262300}"/>
          </ac:spMkLst>
        </pc:spChg>
        <pc:spChg chg="add mod">
          <ac:chgData name="Aniket Chhabra" userId="598e0514-bef3-4e71-b6aa-f2edd6441cff" providerId="ADAL" clId="{429F164E-65EC-446A-AA06-1D494053C13E}" dt="2021-09-14T16:28:30.570" v="5565" actId="1076"/>
          <ac:spMkLst>
            <pc:docMk/>
            <pc:sldMk cId="3766677056" sldId="272"/>
            <ac:spMk id="95" creationId="{D333C709-F166-475E-8058-A0AAF17031E3}"/>
          </ac:spMkLst>
        </pc:spChg>
        <pc:spChg chg="add mod">
          <ac:chgData name="Aniket Chhabra" userId="598e0514-bef3-4e71-b6aa-f2edd6441cff" providerId="ADAL" clId="{429F164E-65EC-446A-AA06-1D494053C13E}" dt="2021-09-14T16:30:08.903" v="5583" actId="255"/>
          <ac:spMkLst>
            <pc:docMk/>
            <pc:sldMk cId="3766677056" sldId="272"/>
            <ac:spMk id="102" creationId="{59446B2A-291E-4552-94A1-EAE229ACD28F}"/>
          </ac:spMkLst>
        </pc:spChg>
        <pc:spChg chg="add del mod">
          <ac:chgData name="Aniket Chhabra" userId="598e0514-bef3-4e71-b6aa-f2edd6441cff" providerId="ADAL" clId="{429F164E-65EC-446A-AA06-1D494053C13E}" dt="2021-09-14T16:30:42.564" v="5587" actId="478"/>
          <ac:spMkLst>
            <pc:docMk/>
            <pc:sldMk cId="3766677056" sldId="272"/>
            <ac:spMk id="103" creationId="{536841E3-3BCC-436E-B999-70387F82FC58}"/>
          </ac:spMkLst>
        </pc:spChg>
        <pc:spChg chg="add del mod">
          <ac:chgData name="Aniket Chhabra" userId="598e0514-bef3-4e71-b6aa-f2edd6441cff" providerId="ADAL" clId="{429F164E-65EC-446A-AA06-1D494053C13E}" dt="2021-09-14T16:28:00.904" v="5536" actId="478"/>
          <ac:spMkLst>
            <pc:docMk/>
            <pc:sldMk cId="3766677056" sldId="272"/>
            <ac:spMk id="105" creationId="{8CD93E74-F9CF-44D1-B4B8-391D8800BFC2}"/>
          </ac:spMkLst>
        </pc:spChg>
        <pc:spChg chg="add mod">
          <ac:chgData name="Aniket Chhabra" userId="598e0514-bef3-4e71-b6aa-f2edd6441cff" providerId="ADAL" clId="{429F164E-65EC-446A-AA06-1D494053C13E}" dt="2021-09-14T16:29:14.786" v="5572" actId="255"/>
          <ac:spMkLst>
            <pc:docMk/>
            <pc:sldMk cId="3766677056" sldId="272"/>
            <ac:spMk id="192" creationId="{7D75FFCF-7959-4327-947B-2421382D1260}"/>
          </ac:spMkLst>
        </pc:spChg>
        <pc:spChg chg="add mod">
          <ac:chgData name="Aniket Chhabra" userId="598e0514-bef3-4e71-b6aa-f2edd6441cff" providerId="ADAL" clId="{429F164E-65EC-446A-AA06-1D494053C13E}" dt="2021-09-14T16:29:48.458" v="5580" actId="1076"/>
          <ac:spMkLst>
            <pc:docMk/>
            <pc:sldMk cId="3766677056" sldId="272"/>
            <ac:spMk id="193" creationId="{683DFA67-84F5-4152-8442-B4D17DA336B7}"/>
          </ac:spMkLst>
        </pc:spChg>
        <pc:spChg chg="add mod">
          <ac:chgData name="Aniket Chhabra" userId="598e0514-bef3-4e71-b6aa-f2edd6441cff" providerId="ADAL" clId="{429F164E-65EC-446A-AA06-1D494053C13E}" dt="2021-09-14T16:29:41.641" v="5578" actId="255"/>
          <ac:spMkLst>
            <pc:docMk/>
            <pc:sldMk cId="3766677056" sldId="272"/>
            <ac:spMk id="194" creationId="{339BA3AA-638D-4E34-A90C-CC14A67BD43E}"/>
          </ac:spMkLst>
        </pc:spChg>
        <pc:spChg chg="mod">
          <ac:chgData name="Aniket Chhabra" userId="598e0514-bef3-4e71-b6aa-f2edd6441cff" providerId="ADAL" clId="{429F164E-65EC-446A-AA06-1D494053C13E}" dt="2021-09-14T08:33:57.140" v="3385" actId="207"/>
          <ac:spMkLst>
            <pc:docMk/>
            <pc:sldMk cId="3766677056" sldId="272"/>
            <ac:spMk id="197" creationId="{00000000-0000-0000-0000-000000000000}"/>
          </ac:spMkLst>
        </pc:spChg>
        <pc:spChg chg="add del mod">
          <ac:chgData name="Aniket Chhabra" userId="598e0514-bef3-4e71-b6aa-f2edd6441cff" providerId="ADAL" clId="{429F164E-65EC-446A-AA06-1D494053C13E}" dt="2021-09-14T16:27:14.472" v="5526" actId="478"/>
          <ac:spMkLst>
            <pc:docMk/>
            <pc:sldMk cId="3766677056" sldId="272"/>
            <ac:spMk id="198" creationId="{1A665ECF-8D17-4AFA-965C-24D52EC6A424}"/>
          </ac:spMkLst>
        </pc:spChg>
        <pc:grpChg chg="add mod">
          <ac:chgData name="Aniket Chhabra" userId="598e0514-bef3-4e71-b6aa-f2edd6441cff" providerId="ADAL" clId="{429F164E-65EC-446A-AA06-1D494053C13E}" dt="2021-09-14T08:10:57.611" v="3032" actId="338"/>
          <ac:grpSpMkLst>
            <pc:docMk/>
            <pc:sldMk cId="3766677056" sldId="272"/>
            <ac:grpSpMk id="3" creationId="{04B42BB0-4661-4180-9FB0-2F6C0A9D3DCD}"/>
          </ac:grpSpMkLst>
        </pc:grpChg>
        <pc:grpChg chg="add mod">
          <ac:chgData name="Aniket Chhabra" userId="598e0514-bef3-4e71-b6aa-f2edd6441cff" providerId="ADAL" clId="{429F164E-65EC-446A-AA06-1D494053C13E}" dt="2021-09-14T08:10:57.611" v="3032" actId="338"/>
          <ac:grpSpMkLst>
            <pc:docMk/>
            <pc:sldMk cId="3766677056" sldId="272"/>
            <ac:grpSpMk id="5" creationId="{D76D8522-4913-4A2A-910D-AC344DEAB4EF}"/>
          </ac:grpSpMkLst>
        </pc:grpChg>
        <pc:grpChg chg="add del mod">
          <ac:chgData name="Aniket Chhabra" userId="598e0514-bef3-4e71-b6aa-f2edd6441cff" providerId="ADAL" clId="{429F164E-65EC-446A-AA06-1D494053C13E}" dt="2021-09-14T08:11:41.851" v="3035" actId="165"/>
          <ac:grpSpMkLst>
            <pc:docMk/>
            <pc:sldMk cId="3766677056" sldId="272"/>
            <ac:grpSpMk id="6" creationId="{45FD0F9A-C93B-485C-AF51-5BD6318D14BD}"/>
          </ac:grpSpMkLst>
        </pc:grpChg>
        <pc:grpChg chg="add del mod">
          <ac:chgData name="Aniket Chhabra" userId="598e0514-bef3-4e71-b6aa-f2edd6441cff" providerId="ADAL" clId="{429F164E-65EC-446A-AA06-1D494053C13E}" dt="2021-09-14T08:10:50.306" v="3026" actId="165"/>
          <ac:grpSpMkLst>
            <pc:docMk/>
            <pc:sldMk cId="3766677056" sldId="272"/>
            <ac:grpSpMk id="9" creationId="{98A6117D-7202-4609-B9EE-12B973C0CF1D}"/>
          </ac:grpSpMkLst>
        </pc:grpChg>
        <pc:grpChg chg="add del mod">
          <ac:chgData name="Aniket Chhabra" userId="598e0514-bef3-4e71-b6aa-f2edd6441cff" providerId="ADAL" clId="{429F164E-65EC-446A-AA06-1D494053C13E}" dt="2021-09-14T07:55:30.674" v="2844" actId="165"/>
          <ac:grpSpMkLst>
            <pc:docMk/>
            <pc:sldMk cId="3766677056" sldId="272"/>
            <ac:grpSpMk id="35" creationId="{C357D31A-3E77-4908-B376-F2ABDE4D4C9B}"/>
          </ac:grpSpMkLst>
        </pc:grpChg>
        <pc:grpChg chg="add del mod">
          <ac:chgData name="Aniket Chhabra" userId="598e0514-bef3-4e71-b6aa-f2edd6441cff" providerId="ADAL" clId="{429F164E-65EC-446A-AA06-1D494053C13E}" dt="2021-09-14T07:58:58.515" v="2943" actId="165"/>
          <ac:grpSpMkLst>
            <pc:docMk/>
            <pc:sldMk cId="3766677056" sldId="272"/>
            <ac:grpSpMk id="60" creationId="{F27A973A-C3B6-4279-A8B7-47D530233B25}"/>
          </ac:grpSpMkLst>
        </pc:grpChg>
        <pc:grpChg chg="add mod">
          <ac:chgData name="Aniket Chhabra" userId="598e0514-bef3-4e71-b6aa-f2edd6441cff" providerId="ADAL" clId="{429F164E-65EC-446A-AA06-1D494053C13E}" dt="2021-09-14T16:25:05.452" v="5508" actId="1076"/>
          <ac:grpSpMkLst>
            <pc:docMk/>
            <pc:sldMk cId="3766677056" sldId="272"/>
            <ac:grpSpMk id="92" creationId="{C7074184-6919-497F-8EEC-9D00599F73C7}"/>
          </ac:grpSpMkLst>
        </pc:grpChg>
        <pc:graphicFrameChg chg="add mod modGraphic">
          <ac:chgData name="Aniket Chhabra" userId="598e0514-bef3-4e71-b6aa-f2edd6441cff" providerId="ADAL" clId="{429F164E-65EC-446A-AA06-1D494053C13E}" dt="2021-09-14T16:31:55.175" v="5598" actId="12385"/>
          <ac:graphicFrameMkLst>
            <pc:docMk/>
            <pc:sldMk cId="3766677056" sldId="272"/>
            <ac:graphicFrameMk id="196" creationId="{52D3EFE9-0924-491C-A36A-385728CB53A1}"/>
          </ac:graphicFrameMkLst>
        </pc:graphicFrameChg>
        <pc:cxnChg chg="add del mod">
          <ac:chgData name="Aniket Chhabra" userId="598e0514-bef3-4e71-b6aa-f2edd6441cff" providerId="ADAL" clId="{429F164E-65EC-446A-AA06-1D494053C13E}" dt="2021-09-14T08:24:35.562" v="3194" actId="478"/>
          <ac:cxnSpMkLst>
            <pc:docMk/>
            <pc:sldMk cId="3766677056" sldId="272"/>
            <ac:cxnSpMk id="94" creationId="{1B39F550-13BD-4292-8BBA-5F1A1B074546}"/>
          </ac:cxnSpMkLst>
        </pc:cxnChg>
      </pc:sldChg>
      <pc:sldChg chg="addSp delSp modSp add mod">
        <pc:chgData name="Aniket Chhabra" userId="598e0514-bef3-4e71-b6aa-f2edd6441cff" providerId="ADAL" clId="{429F164E-65EC-446A-AA06-1D494053C13E}" dt="2021-09-15T02:45:37.961" v="9975" actId="20577"/>
        <pc:sldMkLst>
          <pc:docMk/>
          <pc:sldMk cId="670340384" sldId="273"/>
        </pc:sldMkLst>
        <pc:spChg chg="add mod ord">
          <ac:chgData name="Aniket Chhabra" userId="598e0514-bef3-4e71-b6aa-f2edd6441cff" providerId="ADAL" clId="{429F164E-65EC-446A-AA06-1D494053C13E}" dt="2021-09-15T02:44:58.875" v="9943"/>
          <ac:spMkLst>
            <pc:docMk/>
            <pc:sldMk cId="670340384" sldId="273"/>
            <ac:spMk id="13" creationId="{48D7C383-C0B5-43A0-8ACC-4B32CCF0EAE9}"/>
          </ac:spMkLst>
        </pc:spChg>
        <pc:spChg chg="add mod ord">
          <ac:chgData name="Aniket Chhabra" userId="598e0514-bef3-4e71-b6aa-f2edd6441cff" providerId="ADAL" clId="{429F164E-65EC-446A-AA06-1D494053C13E}" dt="2021-09-15T02:44:58.873" v="9937"/>
          <ac:spMkLst>
            <pc:docMk/>
            <pc:sldMk cId="670340384" sldId="273"/>
            <ac:spMk id="14" creationId="{5BFE5EF5-D8D9-499D-B741-86F4F61126BF}"/>
          </ac:spMkLst>
        </pc:spChg>
        <pc:spChg chg="mod ord">
          <ac:chgData name="Aniket Chhabra" userId="598e0514-bef3-4e71-b6aa-f2edd6441cff" providerId="ADAL" clId="{429F164E-65EC-446A-AA06-1D494053C13E}" dt="2021-09-15T02:44:58.865" v="9931"/>
          <ac:spMkLst>
            <pc:docMk/>
            <pc:sldMk cId="670340384" sldId="273"/>
            <ac:spMk id="195" creationId="{00000000-0000-0000-0000-000000000000}"/>
          </ac:spMkLst>
        </pc:spChg>
        <pc:spChg chg="mod ord">
          <ac:chgData name="Aniket Chhabra" userId="598e0514-bef3-4e71-b6aa-f2edd6441cff" providerId="ADAL" clId="{429F164E-65EC-446A-AA06-1D494053C13E}" dt="2021-09-15T02:45:37.961" v="9975" actId="20577"/>
          <ac:spMkLst>
            <pc:docMk/>
            <pc:sldMk cId="670340384" sldId="273"/>
            <ac:spMk id="197" creationId="{00000000-0000-0000-0000-000000000000}"/>
          </ac:spMkLst>
        </pc:spChg>
        <pc:graphicFrameChg chg="add mod ord modVis">
          <ac:chgData name="Aniket Chhabra" userId="598e0514-bef3-4e71-b6aa-f2edd6441cff" providerId="ADAL" clId="{429F164E-65EC-446A-AA06-1D494053C13E}" dt="2021-09-15T02:44:58.875" v="9945"/>
          <ac:graphicFrameMkLst>
            <pc:docMk/>
            <pc:sldMk cId="670340384" sldId="273"/>
            <ac:graphicFrameMk id="9" creationId="{A5E307E3-BDFE-481D-89B5-478DBA47C34B}"/>
          </ac:graphicFrameMkLst>
        </pc:graphicFrameChg>
        <pc:picChg chg="add mod ord">
          <ac:chgData name="Aniket Chhabra" userId="598e0514-bef3-4e71-b6aa-f2edd6441cff" providerId="ADAL" clId="{429F164E-65EC-446A-AA06-1D494053C13E}" dt="2021-09-15T02:44:58.873" v="9939"/>
          <ac:picMkLst>
            <pc:docMk/>
            <pc:sldMk cId="670340384" sldId="273"/>
            <ac:picMk id="3" creationId="{DFBEC389-130E-447C-BC78-2D2579D37C4A}"/>
          </ac:picMkLst>
        </pc:picChg>
        <pc:picChg chg="del">
          <ac:chgData name="Aniket Chhabra" userId="598e0514-bef3-4e71-b6aa-f2edd6441cff" providerId="ADAL" clId="{429F164E-65EC-446A-AA06-1D494053C13E}" dt="2021-09-14T08:41:51.117" v="3504" actId="478"/>
          <ac:picMkLst>
            <pc:docMk/>
            <pc:sldMk cId="670340384" sldId="273"/>
            <ac:picMk id="3" creationId="{EB79EBC9-D6B5-442F-946B-CA599CA07001}"/>
          </ac:picMkLst>
        </pc:picChg>
        <pc:picChg chg="add del mod ord">
          <ac:chgData name="Aniket Chhabra" userId="598e0514-bef3-4e71-b6aa-f2edd6441cff" providerId="ADAL" clId="{429F164E-65EC-446A-AA06-1D494053C13E}" dt="2021-09-15T02:44:44.201" v="9921" actId="478"/>
          <ac:picMkLst>
            <pc:docMk/>
            <pc:sldMk cId="670340384" sldId="273"/>
            <ac:picMk id="4" creationId="{8856ED95-5033-42FE-A58D-835672B6878E}"/>
          </ac:picMkLst>
        </pc:picChg>
        <pc:picChg chg="add del mod ord">
          <ac:chgData name="Aniket Chhabra" userId="598e0514-bef3-4e71-b6aa-f2edd6441cff" providerId="ADAL" clId="{429F164E-65EC-446A-AA06-1D494053C13E}" dt="2021-09-15T02:45:04.401" v="9946" actId="478"/>
          <ac:picMkLst>
            <pc:docMk/>
            <pc:sldMk cId="670340384" sldId="273"/>
            <ac:picMk id="6" creationId="{A5D5843A-8B11-46EE-B731-B775DE5441EB}"/>
          </ac:picMkLst>
        </pc:picChg>
        <pc:picChg chg="add mod ord">
          <ac:chgData name="Aniket Chhabra" userId="598e0514-bef3-4e71-b6aa-f2edd6441cff" providerId="ADAL" clId="{429F164E-65EC-446A-AA06-1D494053C13E}" dt="2021-09-15T02:44:58.875" v="9941"/>
          <ac:picMkLst>
            <pc:docMk/>
            <pc:sldMk cId="670340384" sldId="273"/>
            <ac:picMk id="7" creationId="{3CEF05CD-A1CD-4012-BF09-B520397E1A69}"/>
          </ac:picMkLst>
        </pc:picChg>
        <pc:picChg chg="add del mod">
          <ac:chgData name="Aniket Chhabra" userId="598e0514-bef3-4e71-b6aa-f2edd6441cff" providerId="ADAL" clId="{429F164E-65EC-446A-AA06-1D494053C13E}" dt="2021-09-15T02:44:05.755" v="9876" actId="478"/>
          <ac:picMkLst>
            <pc:docMk/>
            <pc:sldMk cId="670340384" sldId="273"/>
            <ac:picMk id="8" creationId="{52DB28C8-4DB1-46F5-BCBE-E8E8C32E9B66}"/>
          </ac:picMkLst>
        </pc:picChg>
        <pc:picChg chg="add del mod">
          <ac:chgData name="Aniket Chhabra" userId="598e0514-bef3-4e71-b6aa-f2edd6441cff" providerId="ADAL" clId="{429F164E-65EC-446A-AA06-1D494053C13E}" dt="2021-09-15T02:43:46.755" v="9870" actId="478"/>
          <ac:picMkLst>
            <pc:docMk/>
            <pc:sldMk cId="670340384" sldId="273"/>
            <ac:picMk id="10" creationId="{20F59DF4-CDF4-4147-B652-34D73ED17D46}"/>
          </ac:picMkLst>
        </pc:picChg>
        <pc:picChg chg="add mod ord">
          <ac:chgData name="Aniket Chhabra" userId="598e0514-bef3-4e71-b6aa-f2edd6441cff" providerId="ADAL" clId="{429F164E-65EC-446A-AA06-1D494053C13E}" dt="2021-09-15T02:44:58.865" v="9929"/>
          <ac:picMkLst>
            <pc:docMk/>
            <pc:sldMk cId="670340384" sldId="273"/>
            <ac:picMk id="12" creationId="{15386BAE-9C6B-452E-8841-FA7F202DA4DA}"/>
          </ac:picMkLst>
        </pc:picChg>
        <pc:picChg chg="add mod">
          <ac:chgData name="Aniket Chhabra" userId="598e0514-bef3-4e71-b6aa-f2edd6441cff" providerId="ADAL" clId="{429F164E-65EC-446A-AA06-1D494053C13E}" dt="2021-09-15T02:45:30.706" v="9952" actId="1076"/>
          <ac:picMkLst>
            <pc:docMk/>
            <pc:sldMk cId="670340384" sldId="273"/>
            <ac:picMk id="16" creationId="{FE6682BD-9747-478E-9A95-1FD8E07A70B2}"/>
          </ac:picMkLst>
        </pc:picChg>
      </pc:sldChg>
      <pc:sldChg chg="new add del">
        <pc:chgData name="Aniket Chhabra" userId="598e0514-bef3-4e71-b6aa-f2edd6441cff" providerId="ADAL" clId="{429F164E-65EC-446A-AA06-1D494053C13E}" dt="2021-09-14T08:41:47.528" v="3502" actId="680"/>
        <pc:sldMkLst>
          <pc:docMk/>
          <pc:sldMk cId="3004714695" sldId="273"/>
        </pc:sldMkLst>
      </pc:sldChg>
      <pc:sldChg chg="addSp delSp modSp new add del mod">
        <pc:chgData name="Aniket Chhabra" userId="598e0514-bef3-4e71-b6aa-f2edd6441cff" providerId="ADAL" clId="{429F164E-65EC-446A-AA06-1D494053C13E}" dt="2021-09-15T02:54:37.282" v="10190" actId="2696"/>
        <pc:sldMkLst>
          <pc:docMk/>
          <pc:sldMk cId="543327913" sldId="274"/>
        </pc:sldMkLst>
        <pc:spChg chg="mod">
          <ac:chgData name="Aniket Chhabra" userId="598e0514-bef3-4e71-b6aa-f2edd6441cff" providerId="ADAL" clId="{429F164E-65EC-446A-AA06-1D494053C13E}" dt="2021-09-14T08:54:42.680" v="3824" actId="27636"/>
          <ac:spMkLst>
            <pc:docMk/>
            <pc:sldMk cId="543327913" sldId="274"/>
            <ac:spMk id="2" creationId="{FEAABFE1-B631-4544-88B7-C62356658FDB}"/>
          </ac:spMkLst>
        </pc:spChg>
        <pc:spChg chg="del">
          <ac:chgData name="Aniket Chhabra" userId="598e0514-bef3-4e71-b6aa-f2edd6441cff" providerId="ADAL" clId="{429F164E-65EC-446A-AA06-1D494053C13E}" dt="2021-09-14T08:54:48.959" v="3841" actId="478"/>
          <ac:spMkLst>
            <pc:docMk/>
            <pc:sldMk cId="543327913" sldId="274"/>
            <ac:spMk id="3" creationId="{66D974C3-BBAF-4611-864F-6B640043C2AA}"/>
          </ac:spMkLst>
        </pc:spChg>
        <pc:spChg chg="add mod">
          <ac:chgData name="Aniket Chhabra" userId="598e0514-bef3-4e71-b6aa-f2edd6441cff" providerId="ADAL" clId="{429F164E-65EC-446A-AA06-1D494053C13E}" dt="2021-09-14T08:54:55.433" v="3846" actId="27636"/>
          <ac:spMkLst>
            <pc:docMk/>
            <pc:sldMk cId="543327913" sldId="274"/>
            <ac:spMk id="4" creationId="{125067CA-3C57-408F-ABA9-C3B3DEDAAAC1}"/>
          </ac:spMkLst>
        </pc:spChg>
        <pc:graphicFrameChg chg="add mod ord modVis">
          <ac:chgData name="Aniket Chhabra" userId="598e0514-bef3-4e71-b6aa-f2edd6441cff" providerId="ADAL" clId="{429F164E-65EC-446A-AA06-1D494053C13E}" dt="2021-09-14T08:54:43.274" v="3839"/>
          <ac:graphicFrameMkLst>
            <pc:docMk/>
            <pc:sldMk cId="543327913" sldId="274"/>
            <ac:graphicFrameMk id="5" creationId="{DDD1F0D6-CDA8-4738-850D-AB2AEA56DFC6}"/>
          </ac:graphicFrameMkLst>
        </pc:graphicFrameChg>
      </pc:sldChg>
      <pc:sldChg chg="addSp delSp modSp new add del mod">
        <pc:chgData name="Aniket Chhabra" userId="598e0514-bef3-4e71-b6aa-f2edd6441cff" providerId="ADAL" clId="{429F164E-65EC-446A-AA06-1D494053C13E}" dt="2021-09-15T03:09:47.564" v="11200" actId="47"/>
        <pc:sldMkLst>
          <pc:docMk/>
          <pc:sldMk cId="377529748" sldId="275"/>
        </pc:sldMkLst>
        <pc:picChg chg="add del mod">
          <ac:chgData name="Aniket Chhabra" userId="598e0514-bef3-4e71-b6aa-f2edd6441cff" providerId="ADAL" clId="{429F164E-65EC-446A-AA06-1D494053C13E}" dt="2021-09-15T03:08:52.102" v="11164" actId="21"/>
          <ac:picMkLst>
            <pc:docMk/>
            <pc:sldMk cId="377529748" sldId="275"/>
            <ac:picMk id="3" creationId="{30379D37-9176-4021-BF87-B0C10D8A13C5}"/>
          </ac:picMkLst>
        </pc:picChg>
        <pc:picChg chg="add del mod">
          <ac:chgData name="Aniket Chhabra" userId="598e0514-bef3-4e71-b6aa-f2edd6441cff" providerId="ADAL" clId="{429F164E-65EC-446A-AA06-1D494053C13E}" dt="2021-09-15T02:46:15.682" v="10031" actId="21"/>
          <ac:picMkLst>
            <pc:docMk/>
            <pc:sldMk cId="377529748" sldId="275"/>
            <ac:picMk id="5" creationId="{AAE3F688-6AB1-4D72-8C01-9988528EBA29}"/>
          </ac:picMkLst>
        </pc:picChg>
      </pc:sldChg>
      <pc:sldChg chg="addSp delSp modSp add del mod">
        <pc:chgData name="Aniket Chhabra" userId="598e0514-bef3-4e71-b6aa-f2edd6441cff" providerId="ADAL" clId="{429F164E-65EC-446A-AA06-1D494053C13E}" dt="2021-09-14T15:59:44.523" v="4825" actId="2890"/>
        <pc:sldMkLst>
          <pc:docMk/>
          <pc:sldMk cId="261402519" sldId="276"/>
        </pc:sldMkLst>
        <pc:spChg chg="add del mod ord">
          <ac:chgData name="Aniket Chhabra" userId="598e0514-bef3-4e71-b6aa-f2edd6441cff" providerId="ADAL" clId="{429F164E-65EC-446A-AA06-1D494053C13E}" dt="2021-09-14T15:59:11.287" v="4806" actId="11529"/>
          <ac:spMkLst>
            <pc:docMk/>
            <pc:sldMk cId="261402519" sldId="276"/>
            <ac:spMk id="3" creationId="{316DAC9D-D914-489C-B4E8-4F9C6E93388D}"/>
          </ac:spMkLst>
        </pc:spChg>
        <pc:spChg chg="mod ord">
          <ac:chgData name="Aniket Chhabra" userId="598e0514-bef3-4e71-b6aa-f2edd6441cff" providerId="ADAL" clId="{429F164E-65EC-446A-AA06-1D494053C13E}" dt="2021-09-14T15:59:09.569" v="4799"/>
          <ac:spMkLst>
            <pc:docMk/>
            <pc:sldMk cId="261402519" sldId="276"/>
            <ac:spMk id="4" creationId="{51FEA11F-36EF-44FD-AB9A-94878F275A89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7" creationId="{9B075370-D20D-465C-804C-924FBCBEEDD9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8" creationId="{FB06F7CF-1727-4350-92AE-2A4983CBE252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9" creationId="{22219454-C7AF-4DDA-8BD1-00F4044EBFF5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0" creationId="{D60B8B87-1792-4A66-8262-561D0818846D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1" creationId="{4E1662C0-57DD-4316-8DC7-0365ED29D5A9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2" creationId="{9381F392-E6EE-4ECB-AB68-6B6C1CE58014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3" creationId="{4E65C6FB-A9E0-4323-ACF8-A621281CD8D3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4" creationId="{590DFBE9-5EB6-493C-9125-4F62BA8A13A3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5" creationId="{EC7CAEEE-10E3-4EB4-AE07-257C8E573B8E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6" creationId="{AEB81025-F1DE-4751-AC1D-7369BB49B265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7" creationId="{9F3CC6CD-7CE6-4DC4-AA21-6F5FD64785B2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8" creationId="{E303537B-CC14-49C1-B518-BD87953C70C9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9" creationId="{B0E7266D-03F8-4965-8940-7B27F3F37E81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0" creationId="{414AEFF0-93A3-439D-8950-9ACC585D6A30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1" creationId="{7A0C1D8C-9D31-4912-9706-3F83E7128903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2" creationId="{1F56AFC1-4044-4DEF-A63D-B73320A156B9}"/>
          </ac:spMkLst>
        </pc:spChg>
        <pc:spChg chg="add del 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3" creationId="{C12299AB-D0A6-4B19-A8AE-CD3BB38F3F2A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4" creationId="{E5B12D05-8AF5-4122-BEE7-7F2AF3F0C365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5" creationId="{D7A17795-C86A-438D-B8B5-30C785A244C4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6" creationId="{55BD5B40-027D-49A0-A53B-E3D763BE6EA8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7" creationId="{4075634C-8B3C-4652-9B29-361AA14F980E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8" creationId="{0D98C093-9934-4679-99D2-B71F38AA62D4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9" creationId="{78032A3A-BE47-4032-8558-7677A83EC93B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0" creationId="{FFC98DAF-B6BD-41BF-A391-DD82AE8595B5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1" creationId="{4630211A-2991-41A6-9E02-7E8ED0FDF0BF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2" creationId="{3BB7B002-5D51-493C-9412-BE8312BBC569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3" creationId="{2DA835EA-E9B2-4ADF-896D-053C68055846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4" creationId="{5810855F-BDFD-4F6F-AF1F-79BEFE392262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5" creationId="{FD5B685D-391E-4040-9C1C-044A9A878BEE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6" creationId="{808B7860-EDB2-46B3-A9DE-C896B5144F59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7" creationId="{AB837DD3-4641-4C35-99F2-791176CC78E4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8" creationId="{AD732A02-F3BB-4864-BAA5-A8551ADCFA62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9" creationId="{851671F4-21B8-40FE-9DC6-78609FA6D335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0" creationId="{6A803D8D-DA03-4076-931E-735576368469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1" creationId="{702EB72C-A5D2-41F3-AD0B-552341136547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2" creationId="{F95A0269-A848-47EC-9D99-3A5930D0727C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3" creationId="{9A50605A-BC5F-4BD6-A0C7-99B489C68C72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4" creationId="{8E60F117-4222-4353-9769-AC236F18884E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5" creationId="{E0BEEBFF-5742-46BB-BB7D-64D566E7EC4D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6" creationId="{353013D2-2CFA-4081-AC03-59178E7644FC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7" creationId="{014AF6EC-3F8E-4024-BD4C-47E491544534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8" creationId="{152229F1-8A72-48E7-9782-74EDC0A603B7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9" creationId="{73B0BC0F-BB53-4720-B1A3-EFE9B3C02A2B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50" creationId="{66754F69-32EC-47B2-8EA3-63B12CA25458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51" creationId="{CF836BA0-270F-410A-AB06-F8DC7CF33B31}"/>
          </ac:spMkLst>
        </pc:spChg>
        <pc:spChg chg="mod ord">
          <ac:chgData name="Aniket Chhabra" userId="598e0514-bef3-4e71-b6aa-f2edd6441cff" providerId="ADAL" clId="{429F164E-65EC-446A-AA06-1D494053C13E}" dt="2021-09-14T15:59:09.569" v="4799"/>
          <ac:spMkLst>
            <pc:docMk/>
            <pc:sldMk cId="261402519" sldId="276"/>
            <ac:spMk id="197" creationId="{00000000-0000-0000-0000-000000000000}"/>
          </ac:spMkLst>
        </pc:spChg>
        <pc:grpChg chg="add del mod">
          <ac:chgData name="Aniket Chhabra" userId="598e0514-bef3-4e71-b6aa-f2edd6441cff" providerId="ADAL" clId="{429F164E-65EC-446A-AA06-1D494053C13E}" dt="2021-09-14T15:59:11.864" v="4819" actId="165"/>
          <ac:grpSpMkLst>
            <pc:docMk/>
            <pc:sldMk cId="261402519" sldId="276"/>
            <ac:grpSpMk id="6" creationId="{C2E46DA4-80BD-4E0B-AB17-FF3EEFECC39B}"/>
          </ac:grpSpMkLst>
        </pc:grpChg>
        <pc:graphicFrameChg chg="mod">
          <ac:chgData name="Aniket Chhabra" userId="598e0514-bef3-4e71-b6aa-f2edd6441cff" providerId="ADAL" clId="{429F164E-65EC-446A-AA06-1D494053C13E}" dt="2021-09-14T15:59:10.109" v="4802" actId="1076"/>
          <ac:graphicFrameMkLst>
            <pc:docMk/>
            <pc:sldMk cId="261402519" sldId="276"/>
            <ac:graphicFrameMk id="2" creationId="{9B467519-EC5F-4820-A505-DFE17C41ADE4}"/>
          </ac:graphicFrameMkLst>
        </pc:graphicFrameChg>
      </pc:sldChg>
      <pc:sldChg chg="add del">
        <pc:chgData name="Aniket Chhabra" userId="598e0514-bef3-4e71-b6aa-f2edd6441cff" providerId="ADAL" clId="{429F164E-65EC-446A-AA06-1D494053C13E}" dt="2021-09-14T16:07:53.439" v="5373" actId="2696"/>
        <pc:sldMkLst>
          <pc:docMk/>
          <pc:sldMk cId="562313934" sldId="276"/>
        </pc:sldMkLst>
      </pc:sldChg>
      <pc:sldChg chg="add del">
        <pc:chgData name="Aniket Chhabra" userId="598e0514-bef3-4e71-b6aa-f2edd6441cff" providerId="ADAL" clId="{429F164E-65EC-446A-AA06-1D494053C13E}" dt="2021-09-15T03:09:51.383" v="11201" actId="2696"/>
        <pc:sldMkLst>
          <pc:docMk/>
          <pc:sldMk cId="3334703681" sldId="276"/>
        </pc:sldMkLst>
      </pc:sldChg>
      <pc:sldChg chg="addSp delSp modSp add del mod">
        <pc:chgData name="Aniket Chhabra" userId="598e0514-bef3-4e71-b6aa-f2edd6441cff" providerId="ADAL" clId="{429F164E-65EC-446A-AA06-1D494053C13E}" dt="2021-09-14T15:51:54.524" v="4454" actId="47"/>
        <pc:sldMkLst>
          <pc:docMk/>
          <pc:sldMk cId="3363666119" sldId="276"/>
        </pc:sldMkLst>
        <pc:spChg chg="mod">
          <ac:chgData name="Aniket Chhabra" userId="598e0514-bef3-4e71-b6aa-f2edd6441cff" providerId="ADAL" clId="{429F164E-65EC-446A-AA06-1D494053C13E}" dt="2021-09-14T15:51:36.295" v="4414" actId="21"/>
          <ac:spMkLst>
            <pc:docMk/>
            <pc:sldMk cId="3363666119" sldId="276"/>
            <ac:spMk id="196" creationId="{00000000-0000-0000-0000-000000000000}"/>
          </ac:spMkLst>
        </pc:spChg>
        <pc:spChg chg="mod">
          <ac:chgData name="Aniket Chhabra" userId="598e0514-bef3-4e71-b6aa-f2edd6441cff" providerId="ADAL" clId="{429F164E-65EC-446A-AA06-1D494053C13E}" dt="2021-09-14T15:45:31.108" v="4406" actId="20577"/>
          <ac:spMkLst>
            <pc:docMk/>
            <pc:sldMk cId="3363666119" sldId="276"/>
            <ac:spMk id="197" creationId="{00000000-0000-0000-0000-000000000000}"/>
          </ac:spMkLst>
        </pc:spChg>
        <pc:graphicFrameChg chg="add del mod">
          <ac:chgData name="Aniket Chhabra" userId="598e0514-bef3-4e71-b6aa-f2edd6441cff" providerId="ADAL" clId="{429F164E-65EC-446A-AA06-1D494053C13E}" dt="2021-09-14T15:51:18.149" v="4410" actId="478"/>
          <ac:graphicFrameMkLst>
            <pc:docMk/>
            <pc:sldMk cId="3363666119" sldId="276"/>
            <ac:graphicFrameMk id="5" creationId="{1BBEA821-C4F9-4CBF-AC0A-2FA0B54EC8C0}"/>
          </ac:graphicFrameMkLst>
        </pc:graphicFrameChg>
      </pc:sldChg>
      <pc:sldChg chg="add del">
        <pc:chgData name="Aniket Chhabra" userId="598e0514-bef3-4e71-b6aa-f2edd6441cff" providerId="ADAL" clId="{429F164E-65EC-446A-AA06-1D494053C13E}" dt="2021-09-14T15:56:26.467" v="4565" actId="47"/>
        <pc:sldMkLst>
          <pc:docMk/>
          <pc:sldMk cId="4098586346" sldId="276"/>
        </pc:sldMkLst>
      </pc:sldChg>
      <pc:sldChg chg="addSp delSp modSp add mod ord">
        <pc:chgData name="Aniket Chhabra" userId="598e0514-bef3-4e71-b6aa-f2edd6441cff" providerId="ADAL" clId="{429F164E-65EC-446A-AA06-1D494053C13E}" dt="2021-09-14T18:32:50.275" v="9484" actId="20577"/>
        <pc:sldMkLst>
          <pc:docMk/>
          <pc:sldMk cId="4134348243" sldId="277"/>
        </pc:sldMkLst>
        <pc:spChg chg="add del mod">
          <ac:chgData name="Aniket Chhabra" userId="598e0514-bef3-4e71-b6aa-f2edd6441cff" providerId="ADAL" clId="{429F164E-65EC-446A-AA06-1D494053C13E}" dt="2021-09-14T18:26:15.678" v="9412" actId="478"/>
          <ac:spMkLst>
            <pc:docMk/>
            <pc:sldMk cId="4134348243" sldId="277"/>
            <ac:spMk id="3" creationId="{AA347D8B-D14A-450A-B418-AB2936D766CB}"/>
          </ac:spMkLst>
        </pc:spChg>
        <pc:spChg chg="del">
          <ac:chgData name="Aniket Chhabra" userId="598e0514-bef3-4e71-b6aa-f2edd6441cff" providerId="ADAL" clId="{429F164E-65EC-446A-AA06-1D494053C13E}" dt="2021-09-14T16:37:08.574" v="5708" actId="478"/>
          <ac:spMkLst>
            <pc:docMk/>
            <pc:sldMk cId="4134348243" sldId="277"/>
            <ac:spMk id="4" creationId="{51FEA11F-36EF-44FD-AB9A-94878F275A89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8" creationId="{FB06F7CF-1727-4350-92AE-2A4983CBE252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9" creationId="{22219454-C7AF-4DDA-8BD1-00F4044EBFF5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0" creationId="{D60B8B87-1792-4A66-8262-561D0818846D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1" creationId="{4E1662C0-57DD-4316-8DC7-0365ED29D5A9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2" creationId="{9381F392-E6EE-4ECB-AB68-6B6C1CE58014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3" creationId="{4E65C6FB-A9E0-4323-ACF8-A621281CD8D3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4" creationId="{590DFBE9-5EB6-493C-9125-4F62BA8A13A3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5" creationId="{EC7CAEEE-10E3-4EB4-AE07-257C8E573B8E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6" creationId="{AEB81025-F1DE-4751-AC1D-7369BB49B265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7" creationId="{9F3CC6CD-7CE6-4DC4-AA21-6F5FD64785B2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8" creationId="{E303537B-CC14-49C1-B518-BD87953C70C9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9" creationId="{B0E7266D-03F8-4965-8940-7B27F3F37E81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0" creationId="{414AEFF0-93A3-439D-8950-9ACC585D6A30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1" creationId="{7A0C1D8C-9D31-4912-9706-3F83E7128903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2" creationId="{1F56AFC1-4044-4DEF-A63D-B73320A156B9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3" creationId="{C12299AB-D0A6-4B19-A8AE-CD3BB38F3F2A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4" creationId="{E5B12D05-8AF5-4122-BEE7-7F2AF3F0C365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5" creationId="{D7A17795-C86A-438D-B8B5-30C785A244C4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6" creationId="{55BD5B40-027D-49A0-A53B-E3D763BE6EA8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7" creationId="{4075634C-8B3C-4652-9B29-361AA14F980E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8" creationId="{0D98C093-9934-4679-99D2-B71F38AA62D4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9" creationId="{78032A3A-BE47-4032-8558-7677A83EC93B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0" creationId="{FFC98DAF-B6BD-41BF-A391-DD82AE8595B5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1" creationId="{4630211A-2991-41A6-9E02-7E8ED0FDF0BF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2" creationId="{3BB7B002-5D51-493C-9412-BE8312BBC569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3" creationId="{2DA835EA-E9B2-4ADF-896D-053C68055846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4" creationId="{5810855F-BDFD-4F6F-AF1F-79BEFE392262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5" creationId="{FD5B685D-391E-4040-9C1C-044A9A878BEE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6" creationId="{808B7860-EDB2-46B3-A9DE-C896B5144F59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7" creationId="{AB837DD3-4641-4C35-99F2-791176CC78E4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8" creationId="{AD732A02-F3BB-4864-BAA5-A8551ADCFA62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9" creationId="{851671F4-21B8-40FE-9DC6-78609FA6D335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0" creationId="{6A803D8D-DA03-4076-931E-735576368469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1" creationId="{702EB72C-A5D2-41F3-AD0B-552341136547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2" creationId="{F95A0269-A848-47EC-9D99-3A5930D0727C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3" creationId="{9A50605A-BC5F-4BD6-A0C7-99B489C68C72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4" creationId="{8E60F117-4222-4353-9769-AC236F18884E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5" creationId="{E0BEEBFF-5742-46BB-BB7D-64D566E7EC4D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6" creationId="{353013D2-2CFA-4081-AC03-59178E7644FC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7" creationId="{014AF6EC-3F8E-4024-BD4C-47E491544534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8" creationId="{152229F1-8A72-48E7-9782-74EDC0A603B7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9" creationId="{73B0BC0F-BB53-4720-B1A3-EFE9B3C02A2B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50" creationId="{66754F69-32EC-47B2-8EA3-63B12CA25458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51" creationId="{CF836BA0-270F-410A-AB06-F8DC7CF33B31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52" creationId="{96504FE5-4130-461F-BE67-7EF7D797C450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53" creationId="{4E1353AF-3740-4111-9113-A7E0A39DEA38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54" creationId="{ECAB9FC1-13C4-4EC3-AF89-D2E62610AC29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56" creationId="{C8FCB05B-A958-48B9-B827-FFF54874B8FE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57" creationId="{A68D1B20-A0C6-43EA-B7A1-DECDE8ECDB7C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58" creationId="{1D278D4C-28FC-493F-97EE-C664D986555F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59" creationId="{7736DF64-4361-4CCA-814E-76F51B59A1FB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0" creationId="{CC07687D-928A-4078-9C20-133BF01E794D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1" creationId="{A73504E7-8E7F-41EB-8079-10938A2823E3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2" creationId="{427F6CF2-993E-4995-A7AF-D9F08868C0C5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3" creationId="{3C0B2ED4-0574-4194-A1B9-4A4EBCF0D736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4" creationId="{9BAB0FB8-F1E3-47C1-B613-449DAD797D0C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5" creationId="{A3035825-3DAD-472D-85A7-10E49D308E8F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6" creationId="{0DB8CE38-3179-43EA-89F4-0B8E1E07C9EB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7" creationId="{63644CCE-73F6-4B02-8E31-99839B88065F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8" creationId="{4E5F3AFD-90D3-4692-8990-B08DF4F2F5D3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9" creationId="{8F29EFBB-3972-4E10-9C9E-BBDC8C629A21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70" creationId="{E595A522-F816-49DF-B3C4-EF4C6A507FC8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71" creationId="{88EAA600-C116-48DC-BDCA-79645F691BDE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72" creationId="{4F71094E-9D74-406E-8DE8-150CFC25C6AF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73" creationId="{B7156BCE-10DE-43DC-A7C0-1362387D517D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74" creationId="{BAF0F604-AF1E-4A49-B1E0-4ADD60CEA08C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75" creationId="{7575E03A-6AAE-4ED0-8E5B-AABA4DB717E4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76" creationId="{1DF83FC6-68DC-4454-90DF-27D118741FAA}"/>
          </ac:spMkLst>
        </pc:spChg>
        <pc:spChg chg="mod">
          <ac:chgData name="Aniket Chhabra" userId="598e0514-bef3-4e71-b6aa-f2edd6441cff" providerId="ADAL" clId="{429F164E-65EC-446A-AA06-1D494053C13E}" dt="2021-09-14T16:43:40.477" v="5975" actId="255"/>
          <ac:spMkLst>
            <pc:docMk/>
            <pc:sldMk cId="4134348243" sldId="277"/>
            <ac:spMk id="78" creationId="{59973E99-0051-4B64-9AA2-E7C5711F7C27}"/>
          </ac:spMkLst>
        </pc:spChg>
        <pc:spChg chg="mod">
          <ac:chgData name="Aniket Chhabra" userId="598e0514-bef3-4e71-b6aa-f2edd6441cff" providerId="ADAL" clId="{429F164E-65EC-446A-AA06-1D494053C13E}" dt="2021-09-14T16:43:22.302" v="5971" actId="255"/>
          <ac:spMkLst>
            <pc:docMk/>
            <pc:sldMk cId="4134348243" sldId="277"/>
            <ac:spMk id="79" creationId="{A9F46FA9-8DA8-4718-AB41-DC606C1258C2}"/>
          </ac:spMkLst>
        </pc:spChg>
        <pc:spChg chg="mod">
          <ac:chgData name="Aniket Chhabra" userId="598e0514-bef3-4e71-b6aa-f2edd6441cff" providerId="ADAL" clId="{429F164E-65EC-446A-AA06-1D494053C13E}" dt="2021-09-14T16:42:53.922" v="5965" actId="20577"/>
          <ac:spMkLst>
            <pc:docMk/>
            <pc:sldMk cId="4134348243" sldId="277"/>
            <ac:spMk id="80" creationId="{C8FDD7F2-B986-4C2A-935F-98A9002CECA0}"/>
          </ac:spMkLst>
        </pc:spChg>
        <pc:spChg chg="mod">
          <ac:chgData name="Aniket Chhabra" userId="598e0514-bef3-4e71-b6aa-f2edd6441cff" providerId="ADAL" clId="{429F164E-65EC-446A-AA06-1D494053C13E}" dt="2021-09-14T17:24:26.620" v="7730" actId="20577"/>
          <ac:spMkLst>
            <pc:docMk/>
            <pc:sldMk cId="4134348243" sldId="277"/>
            <ac:spMk id="81" creationId="{50128F0D-EC94-4B05-9C1B-F8085CC963EB}"/>
          </ac:spMkLst>
        </pc:spChg>
        <pc:spChg chg="mod">
          <ac:chgData name="Aniket Chhabra" userId="598e0514-bef3-4e71-b6aa-f2edd6441cff" providerId="ADAL" clId="{429F164E-65EC-446A-AA06-1D494053C13E}" dt="2021-09-14T16:42:53.912" v="5962" actId="20577"/>
          <ac:spMkLst>
            <pc:docMk/>
            <pc:sldMk cId="4134348243" sldId="277"/>
            <ac:spMk id="82" creationId="{841520DA-3A82-473B-973F-B657DC52A47C}"/>
          </ac:spMkLst>
        </pc:spChg>
        <pc:spChg chg="mod">
          <ac:chgData name="Aniket Chhabra" userId="598e0514-bef3-4e71-b6aa-f2edd6441cff" providerId="ADAL" clId="{429F164E-65EC-446A-AA06-1D494053C13E}" dt="2021-09-14T16:43:32.150" v="5973" actId="255"/>
          <ac:spMkLst>
            <pc:docMk/>
            <pc:sldMk cId="4134348243" sldId="277"/>
            <ac:spMk id="83" creationId="{9E7EC90A-DD9E-439A-9B7A-4D0F9CB1549B}"/>
          </ac:spMkLst>
        </pc:spChg>
        <pc:spChg chg="mod">
          <ac:chgData name="Aniket Chhabra" userId="598e0514-bef3-4e71-b6aa-f2edd6441cff" providerId="ADAL" clId="{429F164E-65EC-446A-AA06-1D494053C13E}" dt="2021-09-14T16:42:53.912" v="5959" actId="20577"/>
          <ac:spMkLst>
            <pc:docMk/>
            <pc:sldMk cId="4134348243" sldId="277"/>
            <ac:spMk id="84" creationId="{9CDEA4CD-987F-4272-B6A6-5E527D221F4F}"/>
          </ac:spMkLst>
        </pc:spChg>
        <pc:spChg chg="mod">
          <ac:chgData name="Aniket Chhabra" userId="598e0514-bef3-4e71-b6aa-f2edd6441cff" providerId="ADAL" clId="{429F164E-65EC-446A-AA06-1D494053C13E}" dt="2021-09-14T16:43:36.337" v="5974" actId="255"/>
          <ac:spMkLst>
            <pc:docMk/>
            <pc:sldMk cId="4134348243" sldId="277"/>
            <ac:spMk id="85" creationId="{11E31A10-48A9-49FD-95F7-7A3CF623061C}"/>
          </ac:spMkLst>
        </pc:spChg>
        <pc:spChg chg="mod">
          <ac:chgData name="Aniket Chhabra" userId="598e0514-bef3-4e71-b6aa-f2edd6441cff" providerId="ADAL" clId="{429F164E-65EC-446A-AA06-1D494053C13E}" dt="2021-09-14T16:42:53.911" v="5956" actId="20577"/>
          <ac:spMkLst>
            <pc:docMk/>
            <pc:sldMk cId="4134348243" sldId="277"/>
            <ac:spMk id="86" creationId="{47D17E82-1952-4FA9-9E2B-994A3347958B}"/>
          </ac:spMkLst>
        </pc:spChg>
        <pc:spChg chg="mod">
          <ac:chgData name="Aniket Chhabra" userId="598e0514-bef3-4e71-b6aa-f2edd6441cff" providerId="ADAL" clId="{429F164E-65EC-446A-AA06-1D494053C13E}" dt="2021-09-14T16:42:53.902" v="5954" actId="20577"/>
          <ac:spMkLst>
            <pc:docMk/>
            <pc:sldMk cId="4134348243" sldId="277"/>
            <ac:spMk id="87" creationId="{D5B6B469-32C3-48B0-90D8-0281BD136515}"/>
          </ac:spMkLst>
        </pc:spChg>
        <pc:spChg chg="mod">
          <ac:chgData name="Aniket Chhabra" userId="598e0514-bef3-4e71-b6aa-f2edd6441cff" providerId="ADAL" clId="{429F164E-65EC-446A-AA06-1D494053C13E}" dt="2021-09-14T16:43:15.919" v="5970" actId="255"/>
          <ac:spMkLst>
            <pc:docMk/>
            <pc:sldMk cId="4134348243" sldId="277"/>
            <ac:spMk id="88" creationId="{71E524BF-EC85-40F9-A4B8-1E1CEE13718A}"/>
          </ac:spMkLst>
        </pc:spChg>
        <pc:spChg chg="mod">
          <ac:chgData name="Aniket Chhabra" userId="598e0514-bef3-4e71-b6aa-f2edd6441cff" providerId="ADAL" clId="{429F164E-65EC-446A-AA06-1D494053C13E}" dt="2021-09-14T16:42:53.902" v="5951" actId="20577"/>
          <ac:spMkLst>
            <pc:docMk/>
            <pc:sldMk cId="4134348243" sldId="277"/>
            <ac:spMk id="89" creationId="{6EF02ADA-D5B9-4D86-8222-3BFA64CF095D}"/>
          </ac:spMkLst>
        </pc:spChg>
        <pc:spChg chg="mod">
          <ac:chgData name="Aniket Chhabra" userId="598e0514-bef3-4e71-b6aa-f2edd6441cff" providerId="ADAL" clId="{429F164E-65EC-446A-AA06-1D494053C13E}" dt="2021-09-14T16:43:45.573" v="5976" actId="255"/>
          <ac:spMkLst>
            <pc:docMk/>
            <pc:sldMk cId="4134348243" sldId="277"/>
            <ac:spMk id="90" creationId="{C38B2199-74FF-4F99-9ED1-DF74D3F1D373}"/>
          </ac:spMkLst>
        </pc:spChg>
        <pc:spChg chg="mod">
          <ac:chgData name="Aniket Chhabra" userId="598e0514-bef3-4e71-b6aa-f2edd6441cff" providerId="ADAL" clId="{429F164E-65EC-446A-AA06-1D494053C13E}" dt="2021-09-14T16:42:53.899" v="5948" actId="20577"/>
          <ac:spMkLst>
            <pc:docMk/>
            <pc:sldMk cId="4134348243" sldId="277"/>
            <ac:spMk id="91" creationId="{2EDB82E2-76AC-4CC0-ADF2-C3ECB80554FC}"/>
          </ac:spMkLst>
        </pc:spChg>
        <pc:spChg chg="add del mod">
          <ac:chgData name="Aniket Chhabra" userId="598e0514-bef3-4e71-b6aa-f2edd6441cff" providerId="ADAL" clId="{429F164E-65EC-446A-AA06-1D494053C13E}" dt="2021-09-14T16:44:08.921" v="5979" actId="113"/>
          <ac:spMkLst>
            <pc:docMk/>
            <pc:sldMk cId="4134348243" sldId="277"/>
            <ac:spMk id="92" creationId="{7765C7F1-CEEF-4DE8-9919-8A8F4EF9EEA4}"/>
          </ac:spMkLst>
        </pc:spChg>
        <pc:spChg chg="add mod">
          <ac:chgData name="Aniket Chhabra" userId="598e0514-bef3-4e71-b6aa-f2edd6441cff" providerId="ADAL" clId="{429F164E-65EC-446A-AA06-1D494053C13E}" dt="2021-09-14T18:32:19.871" v="9459" actId="20577"/>
          <ac:spMkLst>
            <pc:docMk/>
            <pc:sldMk cId="4134348243" sldId="277"/>
            <ac:spMk id="93" creationId="{93E1BF10-2CBA-47EF-B2F7-C141F1D45A39}"/>
          </ac:spMkLst>
        </pc:spChg>
        <pc:spChg chg="add mod">
          <ac:chgData name="Aniket Chhabra" userId="598e0514-bef3-4e71-b6aa-f2edd6441cff" providerId="ADAL" clId="{429F164E-65EC-446A-AA06-1D494053C13E}" dt="2021-09-14T18:32:26.714" v="9465" actId="20577"/>
          <ac:spMkLst>
            <pc:docMk/>
            <pc:sldMk cId="4134348243" sldId="277"/>
            <ac:spMk id="94" creationId="{A381C06F-C642-4DB6-B584-E312286374AC}"/>
          </ac:spMkLst>
        </pc:spChg>
        <pc:spChg chg="add mod">
          <ac:chgData name="Aniket Chhabra" userId="598e0514-bef3-4e71-b6aa-f2edd6441cff" providerId="ADAL" clId="{429F164E-65EC-446A-AA06-1D494053C13E}" dt="2021-09-14T18:26:39.951" v="9425" actId="20577"/>
          <ac:spMkLst>
            <pc:docMk/>
            <pc:sldMk cId="4134348243" sldId="277"/>
            <ac:spMk id="95" creationId="{798763E4-F4BB-494B-B943-7A1E3F64F80E}"/>
          </ac:spMkLst>
        </pc:spChg>
        <pc:spChg chg="add mod">
          <ac:chgData name="Aniket Chhabra" userId="598e0514-bef3-4e71-b6aa-f2edd6441cff" providerId="ADAL" clId="{429F164E-65EC-446A-AA06-1D494053C13E}" dt="2021-09-14T16:45:03.902" v="6007" actId="108"/>
          <ac:spMkLst>
            <pc:docMk/>
            <pc:sldMk cId="4134348243" sldId="277"/>
            <ac:spMk id="96" creationId="{C573F0B0-781C-4280-8E69-4B66D5215EB8}"/>
          </ac:spMkLst>
        </pc:spChg>
        <pc:spChg chg="add mod">
          <ac:chgData name="Aniket Chhabra" userId="598e0514-bef3-4e71-b6aa-f2edd6441cff" providerId="ADAL" clId="{429F164E-65EC-446A-AA06-1D494053C13E}" dt="2021-09-14T18:32:50.275" v="9484" actId="20577"/>
          <ac:spMkLst>
            <pc:docMk/>
            <pc:sldMk cId="4134348243" sldId="277"/>
            <ac:spMk id="97" creationId="{C6EF3422-613B-444C-A9B9-7F1EBCF1B69B}"/>
          </ac:spMkLst>
        </pc:spChg>
        <pc:spChg chg="add mod">
          <ac:chgData name="Aniket Chhabra" userId="598e0514-bef3-4e71-b6aa-f2edd6441cff" providerId="ADAL" clId="{429F164E-65EC-446A-AA06-1D494053C13E}" dt="2021-09-14T16:45:12.637" v="6009" actId="108"/>
          <ac:spMkLst>
            <pc:docMk/>
            <pc:sldMk cId="4134348243" sldId="277"/>
            <ac:spMk id="98" creationId="{66EA55A4-41F7-4A57-8006-5B77DABE3DA1}"/>
          </ac:spMkLst>
        </pc:spChg>
        <pc:spChg chg="add mod">
          <ac:chgData name="Aniket Chhabra" userId="598e0514-bef3-4e71-b6aa-f2edd6441cff" providerId="ADAL" clId="{429F164E-65EC-446A-AA06-1D494053C13E}" dt="2021-09-14T16:44:19.956" v="5982" actId="571"/>
          <ac:spMkLst>
            <pc:docMk/>
            <pc:sldMk cId="4134348243" sldId="277"/>
            <ac:spMk id="99" creationId="{7D76B793-7D01-4EB5-922F-C39C65DFA8F9}"/>
          </ac:spMkLst>
        </pc:spChg>
        <pc:spChg chg="add mod">
          <ac:chgData name="Aniket Chhabra" userId="598e0514-bef3-4e71-b6aa-f2edd6441cff" providerId="ADAL" clId="{429F164E-65EC-446A-AA06-1D494053C13E}" dt="2021-09-14T16:44:58.309" v="6006" actId="571"/>
          <ac:spMkLst>
            <pc:docMk/>
            <pc:sldMk cId="4134348243" sldId="277"/>
            <ac:spMk id="100" creationId="{D0DFA2A3-2FB7-4F58-8CD9-105833D79172}"/>
          </ac:spMkLst>
        </pc:spChg>
        <pc:spChg chg="mod">
          <ac:chgData name="Aniket Chhabra" userId="598e0514-bef3-4e71-b6aa-f2edd6441cff" providerId="ADAL" clId="{429F164E-65EC-446A-AA06-1D494053C13E}" dt="2021-09-14T16:37:02.181" v="5706" actId="20577"/>
          <ac:spMkLst>
            <pc:docMk/>
            <pc:sldMk cId="4134348243" sldId="277"/>
            <ac:spMk id="197" creationId="{00000000-0000-0000-0000-000000000000}"/>
          </ac:spMkLst>
        </pc:spChg>
        <pc:grpChg chg="add del mod">
          <ac:chgData name="Aniket Chhabra" userId="598e0514-bef3-4e71-b6aa-f2edd6441cff" providerId="ADAL" clId="{429F164E-65EC-446A-AA06-1D494053C13E}" dt="2021-09-14T16:37:25.277" v="5716"/>
          <ac:grpSpMkLst>
            <pc:docMk/>
            <pc:sldMk cId="4134348243" sldId="277"/>
            <ac:grpSpMk id="55" creationId="{9C904F2B-DA67-4C1E-95FA-841CA21EE4A6}"/>
          </ac:grpSpMkLst>
        </pc:grpChg>
        <pc:grpChg chg="add mod">
          <ac:chgData name="Aniket Chhabra" userId="598e0514-bef3-4e71-b6aa-f2edd6441cff" providerId="ADAL" clId="{429F164E-65EC-446A-AA06-1D494053C13E}" dt="2021-09-14T18:14:37.796" v="9024" actId="1076"/>
          <ac:grpSpMkLst>
            <pc:docMk/>
            <pc:sldMk cId="4134348243" sldId="277"/>
            <ac:grpSpMk id="77" creationId="{7CE533BE-6CE3-4E8E-B9A6-73AF0737B2DF}"/>
          </ac:grpSpMkLst>
        </pc:grpChg>
        <pc:graphicFrameChg chg="mod">
          <ac:chgData name="Aniket Chhabra" userId="598e0514-bef3-4e71-b6aa-f2edd6441cff" providerId="ADAL" clId="{429F164E-65EC-446A-AA06-1D494053C13E}" dt="2021-09-14T16:42:53.932" v="5969"/>
          <ac:graphicFrameMkLst>
            <pc:docMk/>
            <pc:sldMk cId="4134348243" sldId="277"/>
            <ac:graphicFrameMk id="2" creationId="{9B467519-EC5F-4820-A505-DFE17C41ADE4}"/>
          </ac:graphicFrameMkLst>
        </pc:graphicFrameChg>
      </pc:sldChg>
      <pc:sldChg chg="addSp delSp modSp add mod">
        <pc:chgData name="Aniket Chhabra" userId="598e0514-bef3-4e71-b6aa-f2edd6441cff" providerId="ADAL" clId="{429F164E-65EC-446A-AA06-1D494053C13E}" dt="2021-09-15T03:54:08.454" v="11831" actId="20577"/>
        <pc:sldMkLst>
          <pc:docMk/>
          <pc:sldMk cId="4032506089" sldId="278"/>
        </pc:sldMkLst>
        <pc:spChg chg="del">
          <ac:chgData name="Aniket Chhabra" userId="598e0514-bef3-4e71-b6aa-f2edd6441cff" providerId="ADAL" clId="{429F164E-65EC-446A-AA06-1D494053C13E}" dt="2021-09-14T17:03:30.741" v="6017" actId="478"/>
          <ac:spMkLst>
            <pc:docMk/>
            <pc:sldMk cId="4032506089" sldId="278"/>
            <ac:spMk id="2" creationId="{6ABEEBB2-4C6C-40E1-A62C-0B368BAB3822}"/>
          </ac:spMkLst>
        </pc:spChg>
        <pc:spChg chg="del">
          <ac:chgData name="Aniket Chhabra" userId="598e0514-bef3-4e71-b6aa-f2edd6441cff" providerId="ADAL" clId="{429F164E-65EC-446A-AA06-1D494053C13E}" dt="2021-09-14T17:03:17.918" v="6012" actId="478"/>
          <ac:spMkLst>
            <pc:docMk/>
            <pc:sldMk cId="4032506089" sldId="278"/>
            <ac:spMk id="4" creationId="{BBFF29CA-A39E-4BB2-91AF-802D2C627A95}"/>
          </ac:spMkLst>
        </pc:spChg>
        <pc:spChg chg="add mod ord">
          <ac:chgData name="Aniket Chhabra" userId="598e0514-bef3-4e71-b6aa-f2edd6441cff" providerId="ADAL" clId="{429F164E-65EC-446A-AA06-1D494053C13E}" dt="2021-09-14T18:21:03.452" v="9155" actId="1076"/>
          <ac:spMkLst>
            <pc:docMk/>
            <pc:sldMk cId="4032506089" sldId="278"/>
            <ac:spMk id="6" creationId="{935BF542-8357-4994-967E-7C601FB39D8D}"/>
          </ac:spMkLst>
        </pc:spChg>
        <pc:spChg chg="add mod ord">
          <ac:chgData name="Aniket Chhabra" userId="598e0514-bef3-4e71-b6aa-f2edd6441cff" providerId="ADAL" clId="{429F164E-65EC-446A-AA06-1D494053C13E}" dt="2021-09-15T03:54:08.454" v="11831" actId="20577"/>
          <ac:spMkLst>
            <pc:docMk/>
            <pc:sldMk cId="4032506089" sldId="278"/>
            <ac:spMk id="7" creationId="{22635976-DD0A-42BB-879A-0DC7CCEB07F8}"/>
          </ac:spMkLst>
        </pc:spChg>
        <pc:spChg chg="del">
          <ac:chgData name="Aniket Chhabra" userId="598e0514-bef3-4e71-b6aa-f2edd6441cff" providerId="ADAL" clId="{429F164E-65EC-446A-AA06-1D494053C13E}" dt="2021-09-14T17:03:19.472" v="6013" actId="478"/>
          <ac:spMkLst>
            <pc:docMk/>
            <pc:sldMk cId="4032506089" sldId="278"/>
            <ac:spMk id="46" creationId="{7F367B04-1957-45F3-889F-9B8CA68DDA5B}"/>
          </ac:spMkLst>
        </pc:spChg>
        <pc:spChg chg="add mod ord">
          <ac:chgData name="Aniket Chhabra" userId="598e0514-bef3-4e71-b6aa-f2edd6441cff" providerId="ADAL" clId="{429F164E-65EC-446A-AA06-1D494053C13E}" dt="2021-09-14T18:37:33.232" v="9739" actId="1036"/>
          <ac:spMkLst>
            <pc:docMk/>
            <pc:sldMk cId="4032506089" sldId="278"/>
            <ac:spMk id="47" creationId="{17B09C6B-AE85-49B1-B1C3-C39223BD49CC}"/>
          </ac:spMkLst>
        </pc:spChg>
        <pc:spChg chg="add del">
          <ac:chgData name="Aniket Chhabra" userId="598e0514-bef3-4e71-b6aa-f2edd6441cff" providerId="ADAL" clId="{429F164E-65EC-446A-AA06-1D494053C13E}" dt="2021-09-14T17:19:57.169" v="7245" actId="22"/>
          <ac:spMkLst>
            <pc:docMk/>
            <pc:sldMk cId="4032506089" sldId="278"/>
            <ac:spMk id="48" creationId="{EE7CF0D9-8391-4ABC-B145-D7C38C584F3D}"/>
          </ac:spMkLst>
        </pc:spChg>
        <pc:spChg chg="del">
          <ac:chgData name="Aniket Chhabra" userId="598e0514-bef3-4e71-b6aa-f2edd6441cff" providerId="ADAL" clId="{429F164E-65EC-446A-AA06-1D494053C13E}" dt="2021-09-14T17:03:28.132" v="6016" actId="478"/>
          <ac:spMkLst>
            <pc:docMk/>
            <pc:sldMk cId="4032506089" sldId="278"/>
            <ac:spMk id="49" creationId="{75B8C76B-913F-4646-B854-91CFC1E983A2}"/>
          </ac:spMkLst>
        </pc:spChg>
        <pc:spChg chg="del">
          <ac:chgData name="Aniket Chhabra" userId="598e0514-bef3-4e71-b6aa-f2edd6441cff" providerId="ADAL" clId="{429F164E-65EC-446A-AA06-1D494053C13E}" dt="2021-09-14T17:03:23.629" v="6014" actId="478"/>
          <ac:spMkLst>
            <pc:docMk/>
            <pc:sldMk cId="4032506089" sldId="278"/>
            <ac:spMk id="52" creationId="{FFDB6A4A-660C-4BB7-A172-2AF84D17BBC2}"/>
          </ac:spMkLst>
        </pc:spChg>
        <pc:spChg chg="add mod ord">
          <ac:chgData name="Aniket Chhabra" userId="598e0514-bef3-4e71-b6aa-f2edd6441cff" providerId="ADAL" clId="{429F164E-65EC-446A-AA06-1D494053C13E}" dt="2021-09-14T18:18:25.760" v="9097" actId="108"/>
          <ac:spMkLst>
            <pc:docMk/>
            <pc:sldMk cId="4032506089" sldId="278"/>
            <ac:spMk id="54" creationId="{4B00A040-51BA-466D-BBE7-44209FB53026}"/>
          </ac:spMkLst>
        </pc:spChg>
        <pc:spChg chg="add mod ord">
          <ac:chgData name="Aniket Chhabra" userId="598e0514-bef3-4e71-b6aa-f2edd6441cff" providerId="ADAL" clId="{429F164E-65EC-446A-AA06-1D494053C13E}" dt="2021-09-14T18:18:19.732" v="9096" actId="1076"/>
          <ac:spMkLst>
            <pc:docMk/>
            <pc:sldMk cId="4032506089" sldId="278"/>
            <ac:spMk id="55" creationId="{7790E789-99A7-439D-80E1-F0ABE53786EF}"/>
          </ac:spMkLst>
        </pc:spChg>
        <pc:spChg chg="del">
          <ac:chgData name="Aniket Chhabra" userId="598e0514-bef3-4e71-b6aa-f2edd6441cff" providerId="ADAL" clId="{429F164E-65EC-446A-AA06-1D494053C13E}" dt="2021-09-14T17:03:23.629" v="6014" actId="478"/>
          <ac:spMkLst>
            <pc:docMk/>
            <pc:sldMk cId="4032506089" sldId="278"/>
            <ac:spMk id="95" creationId="{D333C709-F166-475E-8058-A0AAF17031E3}"/>
          </ac:spMkLst>
        </pc:spChg>
        <pc:spChg chg="del">
          <ac:chgData name="Aniket Chhabra" userId="598e0514-bef3-4e71-b6aa-f2edd6441cff" providerId="ADAL" clId="{429F164E-65EC-446A-AA06-1D494053C13E}" dt="2021-09-14T17:03:23.629" v="6014" actId="478"/>
          <ac:spMkLst>
            <pc:docMk/>
            <pc:sldMk cId="4032506089" sldId="278"/>
            <ac:spMk id="102" creationId="{59446B2A-291E-4552-94A1-EAE229ACD28F}"/>
          </ac:spMkLst>
        </pc:spChg>
        <pc:spChg chg="del">
          <ac:chgData name="Aniket Chhabra" userId="598e0514-bef3-4e71-b6aa-f2edd6441cff" providerId="ADAL" clId="{429F164E-65EC-446A-AA06-1D494053C13E}" dt="2021-09-14T17:03:23.629" v="6014" actId="478"/>
          <ac:spMkLst>
            <pc:docMk/>
            <pc:sldMk cId="4032506089" sldId="278"/>
            <ac:spMk id="192" creationId="{7D75FFCF-7959-4327-947B-2421382D1260}"/>
          </ac:spMkLst>
        </pc:spChg>
        <pc:spChg chg="del">
          <ac:chgData name="Aniket Chhabra" userId="598e0514-bef3-4e71-b6aa-f2edd6441cff" providerId="ADAL" clId="{429F164E-65EC-446A-AA06-1D494053C13E}" dt="2021-09-14T17:03:23.629" v="6014" actId="478"/>
          <ac:spMkLst>
            <pc:docMk/>
            <pc:sldMk cId="4032506089" sldId="278"/>
            <ac:spMk id="193" creationId="{683DFA67-84F5-4152-8442-B4D17DA336B7}"/>
          </ac:spMkLst>
        </pc:spChg>
        <pc:spChg chg="del">
          <ac:chgData name="Aniket Chhabra" userId="598e0514-bef3-4e71-b6aa-f2edd6441cff" providerId="ADAL" clId="{429F164E-65EC-446A-AA06-1D494053C13E}" dt="2021-09-14T17:03:23.629" v="6014" actId="478"/>
          <ac:spMkLst>
            <pc:docMk/>
            <pc:sldMk cId="4032506089" sldId="278"/>
            <ac:spMk id="194" creationId="{339BA3AA-638D-4E34-A90C-CC14A67BD43E}"/>
          </ac:spMkLst>
        </pc:spChg>
        <pc:spChg chg="del">
          <ac:chgData name="Aniket Chhabra" userId="598e0514-bef3-4e71-b6aa-f2edd6441cff" providerId="ADAL" clId="{429F164E-65EC-446A-AA06-1D494053C13E}" dt="2021-09-14T17:29:44.679" v="8125" actId="478"/>
          <ac:spMkLst>
            <pc:docMk/>
            <pc:sldMk cId="4032506089" sldId="278"/>
            <ac:spMk id="195" creationId="{00000000-0000-0000-0000-000000000000}"/>
          </ac:spMkLst>
        </pc:spChg>
        <pc:spChg chg="mod ord">
          <ac:chgData name="Aniket Chhabra" userId="598e0514-bef3-4e71-b6aa-f2edd6441cff" providerId="ADAL" clId="{429F164E-65EC-446A-AA06-1D494053C13E}" dt="2021-09-14T18:20:40.884" v="9123" actId="1076"/>
          <ac:spMkLst>
            <pc:docMk/>
            <pc:sldMk cId="4032506089" sldId="278"/>
            <ac:spMk id="197" creationId="{00000000-0000-0000-0000-000000000000}"/>
          </ac:spMkLst>
        </pc:spChg>
        <pc:grpChg chg="del">
          <ac:chgData name="Aniket Chhabra" userId="598e0514-bef3-4e71-b6aa-f2edd6441cff" providerId="ADAL" clId="{429F164E-65EC-446A-AA06-1D494053C13E}" dt="2021-09-14T17:03:17.918" v="6012" actId="478"/>
          <ac:grpSpMkLst>
            <pc:docMk/>
            <pc:sldMk cId="4032506089" sldId="278"/>
            <ac:grpSpMk id="92" creationId="{C7074184-6919-497F-8EEC-9D00599F73C7}"/>
          </ac:grpSpMkLst>
        </pc:grpChg>
        <pc:graphicFrameChg chg="add mod ord modVis">
          <ac:chgData name="Aniket Chhabra" userId="598e0514-bef3-4e71-b6aa-f2edd6441cff" providerId="ADAL" clId="{429F164E-65EC-446A-AA06-1D494053C13E}" dt="2021-09-14T18:17:07.965" v="9086"/>
          <ac:graphicFrameMkLst>
            <pc:docMk/>
            <pc:sldMk cId="4032506089" sldId="278"/>
            <ac:graphicFrameMk id="5" creationId="{77B42C2C-B86C-4761-9FF8-8E89814BA815}"/>
          </ac:graphicFrameMkLst>
        </pc:graphicFrameChg>
        <pc:graphicFrameChg chg="add del mod">
          <ac:chgData name="Aniket Chhabra" userId="598e0514-bef3-4e71-b6aa-f2edd6441cff" providerId="ADAL" clId="{429F164E-65EC-446A-AA06-1D494053C13E}" dt="2021-09-14T17:28:27.439" v="8069" actId="21"/>
          <ac:graphicFrameMkLst>
            <pc:docMk/>
            <pc:sldMk cId="4032506089" sldId="278"/>
            <ac:graphicFrameMk id="51" creationId="{A4DAEA07-FC41-43A0-93AC-1FF9302CB2DB}"/>
          </ac:graphicFrameMkLst>
        </pc:graphicFrameChg>
        <pc:graphicFrameChg chg="del">
          <ac:chgData name="Aniket Chhabra" userId="598e0514-bef3-4e71-b6aa-f2edd6441cff" providerId="ADAL" clId="{429F164E-65EC-446A-AA06-1D494053C13E}" dt="2021-09-14T17:03:26.442" v="6015" actId="478"/>
          <ac:graphicFrameMkLst>
            <pc:docMk/>
            <pc:sldMk cId="4032506089" sldId="278"/>
            <ac:graphicFrameMk id="196" creationId="{52D3EFE9-0924-491C-A36A-385728CB53A1}"/>
          </ac:graphicFrameMkLst>
        </pc:graphicFrameChg>
      </pc:sldChg>
      <pc:sldChg chg="addSp delSp modSp add mod">
        <pc:chgData name="Aniket Chhabra" userId="598e0514-bef3-4e71-b6aa-f2edd6441cff" providerId="ADAL" clId="{429F164E-65EC-446A-AA06-1D494053C13E}" dt="2021-09-15T04:02:03.052" v="11888" actId="20577"/>
        <pc:sldMkLst>
          <pc:docMk/>
          <pc:sldMk cId="727194105" sldId="279"/>
        </pc:sldMkLst>
        <pc:spChg chg="add mod ord">
          <ac:chgData name="Aniket Chhabra" userId="598e0514-bef3-4e71-b6aa-f2edd6441cff" providerId="ADAL" clId="{429F164E-65EC-446A-AA06-1D494053C13E}" dt="2021-09-15T04:02:03.052" v="11888" actId="20577"/>
          <ac:spMkLst>
            <pc:docMk/>
            <pc:sldMk cId="727194105" sldId="279"/>
            <ac:spMk id="6" creationId="{308C8EAD-7C07-4697-966C-ADBF59340BC6}"/>
          </ac:spMkLst>
        </pc:spChg>
        <pc:spChg chg="add mod ord">
          <ac:chgData name="Aniket Chhabra" userId="598e0514-bef3-4e71-b6aa-f2edd6441cff" providerId="ADAL" clId="{429F164E-65EC-446A-AA06-1D494053C13E}" dt="2021-09-14T18:22:37.002" v="9217"/>
          <ac:spMkLst>
            <pc:docMk/>
            <pc:sldMk cId="727194105" sldId="279"/>
            <ac:spMk id="7" creationId="{4021F209-E996-4E9A-BBAC-A29C93B5D9B5}"/>
          </ac:spMkLst>
        </pc:spChg>
        <pc:spChg chg="del mod">
          <ac:chgData name="Aniket Chhabra" userId="598e0514-bef3-4e71-b6aa-f2edd6441cff" providerId="ADAL" clId="{429F164E-65EC-446A-AA06-1D494053C13E}" dt="2021-09-14T18:22:25.903" v="9204"/>
          <ac:spMkLst>
            <pc:docMk/>
            <pc:sldMk cId="727194105" sldId="279"/>
            <ac:spMk id="8" creationId="{3075587F-E1B3-42A1-B4AF-8B5A23933551}"/>
          </ac:spMkLst>
        </pc:spChg>
        <pc:spChg chg="add mod ord">
          <ac:chgData name="Aniket Chhabra" userId="598e0514-bef3-4e71-b6aa-f2edd6441cff" providerId="ADAL" clId="{429F164E-65EC-446A-AA06-1D494053C13E}" dt="2021-09-15T03:12:54.090" v="11396" actId="14100"/>
          <ac:spMkLst>
            <pc:docMk/>
            <pc:sldMk cId="727194105" sldId="279"/>
            <ac:spMk id="9" creationId="{58112D2C-BD1F-47BE-99A3-9E1999F12A7B}"/>
          </ac:spMkLst>
        </pc:spChg>
        <pc:spChg chg="add mod ord">
          <ac:chgData name="Aniket Chhabra" userId="598e0514-bef3-4e71-b6aa-f2edd6441cff" providerId="ADAL" clId="{429F164E-65EC-446A-AA06-1D494053C13E}" dt="2021-09-15T03:13:08.590" v="11413" actId="20577"/>
          <ac:spMkLst>
            <pc:docMk/>
            <pc:sldMk cId="727194105" sldId="279"/>
            <ac:spMk id="10" creationId="{E529809A-DBA3-4384-83F3-B53CE57B8F1C}"/>
          </ac:spMkLst>
        </pc:spChg>
        <pc:spChg chg="mod ord">
          <ac:chgData name="Aniket Chhabra" userId="598e0514-bef3-4e71-b6aa-f2edd6441cff" providerId="ADAL" clId="{429F164E-65EC-446A-AA06-1D494053C13E}" dt="2021-09-14T18:22:36.991" v="9209"/>
          <ac:spMkLst>
            <pc:docMk/>
            <pc:sldMk cId="727194105" sldId="279"/>
            <ac:spMk id="195" creationId="{00000000-0000-0000-0000-000000000000}"/>
          </ac:spMkLst>
        </pc:spChg>
        <pc:spChg chg="mod ord">
          <ac:chgData name="Aniket Chhabra" userId="598e0514-bef3-4e71-b6aa-f2edd6441cff" providerId="ADAL" clId="{429F164E-65EC-446A-AA06-1D494053C13E}" dt="2021-09-14T18:22:36.999" v="9211"/>
          <ac:spMkLst>
            <pc:docMk/>
            <pc:sldMk cId="727194105" sldId="279"/>
            <ac:spMk id="197" creationId="{00000000-0000-0000-0000-000000000000}"/>
          </ac:spMkLst>
        </pc:spChg>
        <pc:graphicFrameChg chg="add mod ord modVis">
          <ac:chgData name="Aniket Chhabra" userId="598e0514-bef3-4e71-b6aa-f2edd6441cff" providerId="ADAL" clId="{429F164E-65EC-446A-AA06-1D494053C13E}" dt="2021-09-14T18:22:37.070" v="9234"/>
          <ac:graphicFrameMkLst>
            <pc:docMk/>
            <pc:sldMk cId="727194105" sldId="279"/>
            <ac:graphicFrameMk id="2" creationId="{8546EA82-85C5-4AB2-9A2B-9E018472C7AC}"/>
          </ac:graphicFrameMkLst>
        </pc:graphicFrameChg>
        <pc:graphicFrameChg chg="add mod ord modGraphic">
          <ac:chgData name="Aniket Chhabra" userId="598e0514-bef3-4e71-b6aa-f2edd6441cff" providerId="ADAL" clId="{429F164E-65EC-446A-AA06-1D494053C13E}" dt="2021-09-15T03:18:39.076" v="11593" actId="14734"/>
          <ac:graphicFrameMkLst>
            <pc:docMk/>
            <pc:sldMk cId="727194105" sldId="279"/>
            <ac:graphicFrameMk id="5" creationId="{18E73ABC-3361-4E88-98E5-4BC7424BF259}"/>
          </ac:graphicFrameMkLst>
        </pc:graphicFrameChg>
      </pc:sldChg>
      <pc:sldChg chg="addSp delSp modSp add mod">
        <pc:chgData name="Aniket Chhabra" userId="598e0514-bef3-4e71-b6aa-f2edd6441cff" providerId="ADAL" clId="{429F164E-65EC-446A-AA06-1D494053C13E}" dt="2021-09-15T03:22:06.021" v="11661" actId="1076"/>
        <pc:sldMkLst>
          <pc:docMk/>
          <pc:sldMk cId="1064810103" sldId="280"/>
        </pc:sldMkLst>
        <pc:spChg chg="mod">
          <ac:chgData name="Aniket Chhabra" userId="598e0514-bef3-4e71-b6aa-f2edd6441cff" providerId="ADAL" clId="{429F164E-65EC-446A-AA06-1D494053C13E}" dt="2021-09-15T02:46:59.197" v="10092" actId="14100"/>
          <ac:spMkLst>
            <pc:docMk/>
            <pc:sldMk cId="1064810103" sldId="280"/>
            <ac:spMk id="8" creationId="{D206E059-F251-443C-93FA-8DC86300F77E}"/>
          </ac:spMkLst>
        </pc:spChg>
        <pc:spChg chg="add mod">
          <ac:chgData name="Aniket Chhabra" userId="598e0514-bef3-4e71-b6aa-f2edd6441cff" providerId="ADAL" clId="{429F164E-65EC-446A-AA06-1D494053C13E}" dt="2021-09-15T03:09:20.934" v="11174" actId="1076"/>
          <ac:spMkLst>
            <pc:docMk/>
            <pc:sldMk cId="1064810103" sldId="280"/>
            <ac:spMk id="11" creationId="{2550FFD7-1D38-4F9F-9D81-1F9E68F7DEAB}"/>
          </ac:spMkLst>
        </pc:spChg>
        <pc:spChg chg="add mod">
          <ac:chgData name="Aniket Chhabra" userId="598e0514-bef3-4e71-b6aa-f2edd6441cff" providerId="ADAL" clId="{429F164E-65EC-446A-AA06-1D494053C13E}" dt="2021-09-15T03:22:06.021" v="11661" actId="1076"/>
          <ac:spMkLst>
            <pc:docMk/>
            <pc:sldMk cId="1064810103" sldId="280"/>
            <ac:spMk id="13" creationId="{543D82CA-B276-4A6C-8A1D-6241556ACDE2}"/>
          </ac:spMkLst>
        </pc:spChg>
        <pc:spChg chg="add mod">
          <ac:chgData name="Aniket Chhabra" userId="598e0514-bef3-4e71-b6aa-f2edd6441cff" providerId="ADAL" clId="{429F164E-65EC-446A-AA06-1D494053C13E}" dt="2021-09-15T03:09:40.233" v="11199" actId="20577"/>
          <ac:spMkLst>
            <pc:docMk/>
            <pc:sldMk cId="1064810103" sldId="280"/>
            <ac:spMk id="15" creationId="{CB4811CC-B396-4A19-8A07-5B0EE2D7B511}"/>
          </ac:spMkLst>
        </pc:spChg>
        <pc:spChg chg="add mod">
          <ac:chgData name="Aniket Chhabra" userId="598e0514-bef3-4e71-b6aa-f2edd6441cff" providerId="ADAL" clId="{429F164E-65EC-446A-AA06-1D494053C13E}" dt="2021-09-15T03:21:55.141" v="11657" actId="1076"/>
          <ac:spMkLst>
            <pc:docMk/>
            <pc:sldMk cId="1064810103" sldId="280"/>
            <ac:spMk id="18" creationId="{643F6281-1DDF-4E90-95FC-BDD06EB15377}"/>
          </ac:spMkLst>
        </pc:spChg>
        <pc:spChg chg="mod">
          <ac:chgData name="Aniket Chhabra" userId="598e0514-bef3-4e71-b6aa-f2edd6441cff" providerId="ADAL" clId="{429F164E-65EC-446A-AA06-1D494053C13E}" dt="2021-09-15T02:46:10.095" v="10029" actId="20577"/>
          <ac:spMkLst>
            <pc:docMk/>
            <pc:sldMk cId="1064810103" sldId="280"/>
            <ac:spMk id="197" creationId="{00000000-0000-0000-0000-000000000000}"/>
          </ac:spMkLst>
        </pc:spChg>
        <pc:picChg chg="add mod">
          <ac:chgData name="Aniket Chhabra" userId="598e0514-bef3-4e71-b6aa-f2edd6441cff" providerId="ADAL" clId="{429F164E-65EC-446A-AA06-1D494053C13E}" dt="2021-09-15T02:49:06.335" v="10106" actId="1076"/>
          <ac:picMkLst>
            <pc:docMk/>
            <pc:sldMk cId="1064810103" sldId="280"/>
            <ac:picMk id="3" creationId="{176E4BDF-D456-47F1-A9DC-C2FB20087C47}"/>
          </ac:picMkLst>
        </pc:picChg>
        <pc:picChg chg="del">
          <ac:chgData name="Aniket Chhabra" userId="598e0514-bef3-4e71-b6aa-f2edd6441cff" providerId="ADAL" clId="{429F164E-65EC-446A-AA06-1D494053C13E}" dt="2021-09-15T02:46:11.608" v="10030" actId="478"/>
          <ac:picMkLst>
            <pc:docMk/>
            <pc:sldMk cId="1064810103" sldId="280"/>
            <ac:picMk id="4" creationId="{CF4B735A-E0EC-45B8-96B3-86CC86EC449D}"/>
          </ac:picMkLst>
        </pc:picChg>
        <pc:picChg chg="add del mod">
          <ac:chgData name="Aniket Chhabra" userId="598e0514-bef3-4e71-b6aa-f2edd6441cff" providerId="ADAL" clId="{429F164E-65EC-446A-AA06-1D494053C13E}" dt="2021-09-15T02:47:00.987" v="10093" actId="478"/>
          <ac:picMkLst>
            <pc:docMk/>
            <pc:sldMk cId="1064810103" sldId="280"/>
            <ac:picMk id="6" creationId="{F30A6ADB-972D-43F5-B187-57BF588F4E35}"/>
          </ac:picMkLst>
        </pc:picChg>
        <pc:picChg chg="add mod">
          <ac:chgData name="Aniket Chhabra" userId="598e0514-bef3-4e71-b6aa-f2edd6441cff" providerId="ADAL" clId="{429F164E-65EC-446A-AA06-1D494053C13E}" dt="2021-09-15T02:49:03.280" v="10104" actId="14100"/>
          <ac:picMkLst>
            <pc:docMk/>
            <pc:sldMk cId="1064810103" sldId="280"/>
            <ac:picMk id="7" creationId="{08F04336-63DD-404C-9AAB-FBB6F9F7E97D}"/>
          </ac:picMkLst>
        </pc:picChg>
        <pc:picChg chg="add mod">
          <ac:chgData name="Aniket Chhabra" userId="598e0514-bef3-4e71-b6aa-f2edd6441cff" providerId="ADAL" clId="{429F164E-65EC-446A-AA06-1D494053C13E}" dt="2021-09-15T03:09:24.439" v="11175" actId="1076"/>
          <ac:picMkLst>
            <pc:docMk/>
            <pc:sldMk cId="1064810103" sldId="280"/>
            <ac:picMk id="10" creationId="{C2E348D4-FC32-43FE-BE23-2E990A32861C}"/>
          </ac:picMkLst>
        </pc:picChg>
        <pc:picChg chg="add del mod">
          <ac:chgData name="Aniket Chhabra" userId="598e0514-bef3-4e71-b6aa-f2edd6441cff" providerId="ADAL" clId="{429F164E-65EC-446A-AA06-1D494053C13E}" dt="2021-09-15T03:09:06.629" v="11166" actId="478"/>
          <ac:picMkLst>
            <pc:docMk/>
            <pc:sldMk cId="1064810103" sldId="280"/>
            <ac:picMk id="12" creationId="{E6605847-73B9-45DE-9706-85A19BD644CC}"/>
          </ac:picMkLst>
        </pc:picChg>
      </pc:sldChg>
      <pc:sldChg chg="addSp delSp modSp add mod ord">
        <pc:chgData name="Aniket Chhabra" userId="598e0514-bef3-4e71-b6aa-f2edd6441cff" providerId="ADAL" clId="{429F164E-65EC-446A-AA06-1D494053C13E}" dt="2021-09-15T03:21:18.171" v="11633" actId="14100"/>
        <pc:sldMkLst>
          <pc:docMk/>
          <pc:sldMk cId="3120255543" sldId="281"/>
        </pc:sldMkLst>
        <pc:spChg chg="mod">
          <ac:chgData name="Aniket Chhabra" userId="598e0514-bef3-4e71-b6aa-f2edd6441cff" providerId="ADAL" clId="{429F164E-65EC-446A-AA06-1D494053C13E}" dt="2021-09-15T02:53:57.436" v="10159" actId="20577"/>
          <ac:spMkLst>
            <pc:docMk/>
            <pc:sldMk cId="3120255543" sldId="281"/>
            <ac:spMk id="197" creationId="{00000000-0000-0000-0000-000000000000}"/>
          </ac:spMkLst>
        </pc:spChg>
        <pc:picChg chg="add del">
          <ac:chgData name="Aniket Chhabra" userId="598e0514-bef3-4e71-b6aa-f2edd6441cff" providerId="ADAL" clId="{429F164E-65EC-446A-AA06-1D494053C13E}" dt="2021-09-15T03:19:32.901" v="11602" actId="478"/>
          <ac:picMkLst>
            <pc:docMk/>
            <pc:sldMk cId="3120255543" sldId="281"/>
            <ac:picMk id="3" creationId="{DFBEC389-130E-447C-BC78-2D2579D37C4A}"/>
          </ac:picMkLst>
        </pc:picChg>
        <pc:picChg chg="add mod">
          <ac:chgData name="Aniket Chhabra" userId="598e0514-bef3-4e71-b6aa-f2edd6441cff" providerId="ADAL" clId="{429F164E-65EC-446A-AA06-1D494053C13E}" dt="2021-09-15T03:19:19.603" v="11601" actId="1076"/>
          <ac:picMkLst>
            <pc:docMk/>
            <pc:sldMk cId="3120255543" sldId="281"/>
            <ac:picMk id="4" creationId="{2E691164-12D9-4D37-8263-7888392CD9D8}"/>
          </ac:picMkLst>
        </pc:picChg>
        <pc:picChg chg="add mod">
          <ac:chgData name="Aniket Chhabra" userId="598e0514-bef3-4e71-b6aa-f2edd6441cff" providerId="ADAL" clId="{429F164E-65EC-446A-AA06-1D494053C13E}" dt="2021-09-15T03:21:18.171" v="11633" actId="14100"/>
          <ac:picMkLst>
            <pc:docMk/>
            <pc:sldMk cId="3120255543" sldId="281"/>
            <ac:picMk id="6" creationId="{95A7F6E1-C4B0-4574-B77E-A75A393EBD4E}"/>
          </ac:picMkLst>
        </pc:picChg>
        <pc:picChg chg="add del">
          <ac:chgData name="Aniket Chhabra" userId="598e0514-bef3-4e71-b6aa-f2edd6441cff" providerId="ADAL" clId="{429F164E-65EC-446A-AA06-1D494053C13E}" dt="2021-09-15T03:19:09.645" v="11594" actId="478"/>
          <ac:picMkLst>
            <pc:docMk/>
            <pc:sldMk cId="3120255543" sldId="281"/>
            <ac:picMk id="7" creationId="{3CEF05CD-A1CD-4012-BF09-B520397E1A69}"/>
          </ac:picMkLst>
        </pc:picChg>
        <pc:picChg chg="add mod">
          <ac:chgData name="Aniket Chhabra" userId="598e0514-bef3-4e71-b6aa-f2edd6441cff" providerId="ADAL" clId="{429F164E-65EC-446A-AA06-1D494053C13E}" dt="2021-09-15T03:20:39.139" v="11618" actId="14100"/>
          <ac:picMkLst>
            <pc:docMk/>
            <pc:sldMk cId="3120255543" sldId="281"/>
            <ac:picMk id="10" creationId="{2EA5684E-CB17-4C6B-8D08-946877966E45}"/>
          </ac:picMkLst>
        </pc:picChg>
        <pc:picChg chg="add del">
          <ac:chgData name="Aniket Chhabra" userId="598e0514-bef3-4e71-b6aa-f2edd6441cff" providerId="ADAL" clId="{429F164E-65EC-446A-AA06-1D494053C13E}" dt="2021-09-15T03:20:16.516" v="11609" actId="478"/>
          <ac:picMkLst>
            <pc:docMk/>
            <pc:sldMk cId="3120255543" sldId="281"/>
            <ac:picMk id="12" creationId="{15386BAE-9C6B-452E-8841-FA7F202DA4DA}"/>
          </ac:picMkLst>
        </pc:picChg>
        <pc:picChg chg="add mod">
          <ac:chgData name="Aniket Chhabra" userId="598e0514-bef3-4e71-b6aa-f2edd6441cff" providerId="ADAL" clId="{429F164E-65EC-446A-AA06-1D494053C13E}" dt="2021-09-15T03:21:12.115" v="11632" actId="1036"/>
          <ac:picMkLst>
            <pc:docMk/>
            <pc:sldMk cId="3120255543" sldId="281"/>
            <ac:picMk id="15" creationId="{438C8B9F-C56E-41A9-9CE9-07D0DFACFA03}"/>
          </ac:picMkLst>
        </pc:picChg>
        <pc:picChg chg="del">
          <ac:chgData name="Aniket Chhabra" userId="598e0514-bef3-4e71-b6aa-f2edd6441cff" providerId="ADAL" clId="{429F164E-65EC-446A-AA06-1D494053C13E}" dt="2021-09-15T03:19:45.050" v="11608" actId="478"/>
          <ac:picMkLst>
            <pc:docMk/>
            <pc:sldMk cId="3120255543" sldId="281"/>
            <ac:picMk id="16" creationId="{FE6682BD-9747-478E-9A95-1FD8E07A70B2}"/>
          </ac:picMkLst>
        </pc:picChg>
      </pc:sldChg>
      <pc:sldChg chg="modSp add mod">
        <pc:chgData name="Aniket Chhabra" userId="598e0514-bef3-4e71-b6aa-f2edd6441cff" providerId="ADAL" clId="{429F164E-65EC-446A-AA06-1D494053C13E}" dt="2021-09-15T02:54:26.956" v="10186" actId="6549"/>
        <pc:sldMkLst>
          <pc:docMk/>
          <pc:sldMk cId="685199590" sldId="282"/>
        </pc:sldMkLst>
        <pc:spChg chg="mod">
          <ac:chgData name="Aniket Chhabra" userId="598e0514-bef3-4e71-b6aa-f2edd6441cff" providerId="ADAL" clId="{429F164E-65EC-446A-AA06-1D494053C13E}" dt="2021-09-15T02:54:24.748" v="10185" actId="1076"/>
          <ac:spMkLst>
            <pc:docMk/>
            <pc:sldMk cId="685199590" sldId="282"/>
            <ac:spMk id="8" creationId="{3075587F-E1B3-42A1-B4AF-8B5A23933551}"/>
          </ac:spMkLst>
        </pc:spChg>
        <pc:spChg chg="mod">
          <ac:chgData name="Aniket Chhabra" userId="598e0514-bef3-4e71-b6aa-f2edd6441cff" providerId="ADAL" clId="{429F164E-65EC-446A-AA06-1D494053C13E}" dt="2021-09-15T02:54:26.956" v="10186" actId="6549"/>
          <ac:spMkLst>
            <pc:docMk/>
            <pc:sldMk cId="685199590" sldId="282"/>
            <ac:spMk id="197" creationId="{00000000-0000-0000-0000-000000000000}"/>
          </ac:spMkLst>
        </pc:spChg>
      </pc:sldChg>
      <pc:sldChg chg="addSp delSp modSp add mod">
        <pc:chgData name="Aniket Chhabra" userId="598e0514-bef3-4e71-b6aa-f2edd6441cff" providerId="ADAL" clId="{429F164E-65EC-446A-AA06-1D494053C13E}" dt="2021-09-26T11:33:41.732" v="11958" actId="478"/>
        <pc:sldMkLst>
          <pc:docMk/>
          <pc:sldMk cId="3677069778" sldId="283"/>
        </pc:sldMkLst>
        <pc:spChg chg="add del mod">
          <ac:chgData name="Aniket Chhabra" userId="598e0514-bef3-4e71-b6aa-f2edd6441cff" providerId="ADAL" clId="{429F164E-65EC-446A-AA06-1D494053C13E}" dt="2021-09-26T11:33:41.732" v="11958" actId="478"/>
          <ac:spMkLst>
            <pc:docMk/>
            <pc:sldMk cId="3677069778" sldId="283"/>
            <ac:spMk id="2" creationId="{D7FA0381-2497-4ED6-A58F-78003277F371}"/>
          </ac:spMkLst>
        </pc:spChg>
        <pc:spChg chg="mod">
          <ac:chgData name="Aniket Chhabra" userId="598e0514-bef3-4e71-b6aa-f2edd6441cff" providerId="ADAL" clId="{429F164E-65EC-446A-AA06-1D494053C13E}" dt="2021-09-15T03:00:12.095" v="10903" actId="20577"/>
          <ac:spMkLst>
            <pc:docMk/>
            <pc:sldMk cId="3677069778" sldId="283"/>
            <ac:spMk id="8" creationId="{3075587F-E1B3-42A1-B4AF-8B5A23933551}"/>
          </ac:spMkLst>
        </pc:spChg>
        <pc:spChg chg="mod">
          <ac:chgData name="Aniket Chhabra" userId="598e0514-bef3-4e71-b6aa-f2edd6441cff" providerId="ADAL" clId="{429F164E-65EC-446A-AA06-1D494053C13E}" dt="2021-09-15T02:57:46.285" v="10485" actId="20577"/>
          <ac:spMkLst>
            <pc:docMk/>
            <pc:sldMk cId="3677069778" sldId="283"/>
            <ac:spMk id="197" creationId="{00000000-0000-0000-0000-000000000000}"/>
          </ac:spMkLst>
        </pc:spChg>
      </pc:sldChg>
      <pc:sldChg chg="modSp add del mod">
        <pc:chgData name="Aniket Chhabra" userId="598e0514-bef3-4e71-b6aa-f2edd6441cff" providerId="ADAL" clId="{429F164E-65EC-446A-AA06-1D494053C13E}" dt="2021-09-15T03:59:21.005" v="11887" actId="47"/>
        <pc:sldMkLst>
          <pc:docMk/>
          <pc:sldMk cId="1705399778" sldId="284"/>
        </pc:sldMkLst>
        <pc:spChg chg="mod">
          <ac:chgData name="Aniket Chhabra" userId="598e0514-bef3-4e71-b6aa-f2edd6441cff" providerId="ADAL" clId="{429F164E-65EC-446A-AA06-1D494053C13E}" dt="2021-09-15T03:58:20.776" v="11886" actId="20577"/>
          <ac:spMkLst>
            <pc:docMk/>
            <pc:sldMk cId="1705399778" sldId="284"/>
            <ac:spMk id="197" creationId="{00000000-0000-0000-0000-000000000000}"/>
          </ac:spMkLst>
        </pc:spChg>
      </pc:sldChg>
      <pc:sldMasterChg chg="delSldLayout">
        <pc:chgData name="Aniket Chhabra" userId="598e0514-bef3-4e71-b6aa-f2edd6441cff" providerId="ADAL" clId="{429F164E-65EC-446A-AA06-1D494053C13E}" dt="2021-09-15T03:09:47.564" v="11200" actId="47"/>
        <pc:sldMasterMkLst>
          <pc:docMk/>
          <pc:sldMasterMk cId="0" sldId="2147483681"/>
        </pc:sldMasterMkLst>
        <pc:sldLayoutChg chg="del">
          <pc:chgData name="Aniket Chhabra" userId="598e0514-bef3-4e71-b6aa-f2edd6441cff" providerId="ADAL" clId="{429F164E-65EC-446A-AA06-1D494053C13E}" dt="2021-09-15T03:09:47.564" v="11200" actId="47"/>
          <pc:sldLayoutMkLst>
            <pc:docMk/>
            <pc:sldMasterMk cId="0" sldId="2147483681"/>
            <pc:sldLayoutMk cId="0" sldId="2147483658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5" name="Google Shape;175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731500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569046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267667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341667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875663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1916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ef891f81b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ef891f81b9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003279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266093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240712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 i="0" u="none" strike="noStrike" cap="none" dirty="0">
              <a:solidFill>
                <a:schemeClr val="tx1"/>
              </a:solidFill>
              <a:latin typeface="Raleway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286931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492347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45426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bg>
      <p:bgPr>
        <a:solidFill>
          <a:schemeClr val="lt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>
            <a:off x="0" y="0"/>
            <a:ext cx="9144000" cy="487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11" name="Google Shape;11;p2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12" name="Google Shape;12;p2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3" name="Google Shape;13;p2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14" name="Google Shape;14;p2"/>
          <p:cNvSpPr txBox="1">
            <a:spLocks noGrp="1"/>
          </p:cNvSpPr>
          <p:nvPr>
            <p:ph type="ctrTitle"/>
          </p:nvPr>
        </p:nvSpPr>
        <p:spPr>
          <a:xfrm>
            <a:off x="729450" y="1322450"/>
            <a:ext cx="7688100" cy="166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5" name="Google Shape;15;p2"/>
          <p:cNvSpPr txBox="1">
            <a:spLocks noGrp="1"/>
          </p:cNvSpPr>
          <p:nvPr>
            <p:ph type="subTitle" idx="1"/>
          </p:nvPr>
        </p:nvSpPr>
        <p:spPr>
          <a:xfrm>
            <a:off x="729627" y="3172900"/>
            <a:ext cx="7688100" cy="54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" name="Google Shape;16;p2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bg>
      <p:bgPr>
        <a:solidFill>
          <a:schemeClr val="dk1"/>
        </a:solidFill>
        <a:effectLst/>
      </p:bgPr>
    </p:bg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oogle Shape;74;p11"/>
          <p:cNvGrpSpPr/>
          <p:nvPr/>
        </p:nvGrpSpPr>
        <p:grpSpPr>
          <a:xfrm>
            <a:off x="830392" y="4169130"/>
            <a:ext cx="745763" cy="45826"/>
            <a:chOff x="4580561" y="2589004"/>
            <a:chExt cx="1064464" cy="25200"/>
          </a:xfrm>
        </p:grpSpPr>
        <p:sp>
          <p:nvSpPr>
            <p:cNvPr id="75" name="Google Shape;75;p11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76" name="Google Shape;76;p11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77" name="Google Shape;77;p11"/>
          <p:cNvSpPr txBox="1">
            <a:spLocks noGrp="1"/>
          </p:cNvSpPr>
          <p:nvPr>
            <p:ph type="title" hasCustomPrompt="1"/>
          </p:nvPr>
        </p:nvSpPr>
        <p:spPr>
          <a:xfrm>
            <a:off x="729450" y="733950"/>
            <a:ext cx="7688400" cy="12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78" name="Google Shape;78;p11"/>
          <p:cNvSpPr txBox="1">
            <a:spLocks noGrp="1"/>
          </p:cNvSpPr>
          <p:nvPr>
            <p:ph type="body" idx="1"/>
          </p:nvPr>
        </p:nvSpPr>
        <p:spPr>
          <a:xfrm>
            <a:off x="729450" y="2272888"/>
            <a:ext cx="7688400" cy="158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Char char="●"/>
              <a:defRPr>
                <a:solidFill>
                  <a:schemeClr val="lt1"/>
                </a:solidFill>
              </a:defRPr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>
                <a:solidFill>
                  <a:schemeClr val="lt1"/>
                </a:solidFill>
              </a:defRPr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>
                <a:solidFill>
                  <a:schemeClr val="lt1"/>
                </a:solidFill>
              </a:defRPr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>
                <a:solidFill>
                  <a:schemeClr val="lt1"/>
                </a:solidFill>
              </a:defRPr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>
                <a:solidFill>
                  <a:schemeClr val="lt1"/>
                </a:solidFill>
              </a:defRPr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>
                <a:solidFill>
                  <a:schemeClr val="lt1"/>
                </a:solidFill>
              </a:defRPr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>
                <a:solidFill>
                  <a:schemeClr val="lt1"/>
                </a:solidFill>
              </a:defRPr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>
                <a:solidFill>
                  <a:schemeClr val="lt1"/>
                </a:solidFill>
              </a:defRPr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79" name="Google Shape;79;p11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26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34" name="Google Shape;134;p26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35" name="Google Shape;135;p2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27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38" name="Google Shape;138;p2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28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2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42" name="Google Shape;142;p2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46" name="Google Shape;146;p29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47" name="Google Shape;147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30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3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31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53" name="Google Shape;153;p31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54" name="Google Shape;154;p3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Google Shape;156;p32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57" name="Google Shape;157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33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60" name="Google Shape;160;p33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61" name="Google Shape;161;p33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62" name="Google Shape;162;p33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63" name="Google Shape;163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34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166" name="Google Shape;166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bg>
      <p:bgPr>
        <a:solidFill>
          <a:schemeClr val="dk1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oogle Shape;18;p3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19" name="Google Shape;19;p3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0" name="Google Shape;20;p3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21" name="Google Shape;21;p3"/>
          <p:cNvSpPr txBox="1">
            <a:spLocks noGrp="1"/>
          </p:cNvSpPr>
          <p:nvPr>
            <p:ph type="title"/>
          </p:nvPr>
        </p:nvSpPr>
        <p:spPr>
          <a:xfrm>
            <a:off x="729450" y="1322450"/>
            <a:ext cx="7688400" cy="151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2" name="Google Shape;22;p3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35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169" name="Google Shape;169;p35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70" name="Google Shape;170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4"/>
          <p:cNvSpPr/>
          <p:nvPr/>
        </p:nvSpPr>
        <p:spPr>
          <a:xfrm>
            <a:off x="0" y="0"/>
            <a:ext cx="9144000" cy="487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25" name="Google Shape;25;p4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26" name="Google Shape;26;p4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7" name="Google Shape;27;p4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28" name="Google Shape;28;p4"/>
          <p:cNvSpPr txBox="1">
            <a:spLocks noGrp="1"/>
          </p:cNvSpPr>
          <p:nvPr>
            <p:ph type="title"/>
          </p:nvPr>
        </p:nvSpPr>
        <p:spPr>
          <a:xfrm>
            <a:off x="729450" y="1318650"/>
            <a:ext cx="76887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2pPr>
            <a:lvl3pPr lvl="2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3pPr>
            <a:lvl4pPr lvl="3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4pPr>
            <a:lvl5pPr lvl="4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5pPr>
            <a:lvl6pPr lvl="5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6pPr>
            <a:lvl7pPr lvl="6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7pPr>
            <a:lvl8pPr lvl="7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8pPr>
            <a:lvl9pPr lvl="8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9pPr>
          </a:lstStyle>
          <a:p>
            <a:endParaRPr/>
          </a:p>
        </p:txBody>
      </p:sp>
      <p:sp>
        <p:nvSpPr>
          <p:cNvPr id="29" name="Google Shape;29;p4"/>
          <p:cNvSpPr txBox="1">
            <a:spLocks noGrp="1"/>
          </p:cNvSpPr>
          <p:nvPr>
            <p:ph type="body" idx="1"/>
          </p:nvPr>
        </p:nvSpPr>
        <p:spPr>
          <a:xfrm>
            <a:off x="729450" y="2078875"/>
            <a:ext cx="7688700" cy="226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30" name="Google Shape;30;p4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5"/>
          <p:cNvSpPr/>
          <p:nvPr/>
        </p:nvSpPr>
        <p:spPr>
          <a:xfrm>
            <a:off x="0" y="0"/>
            <a:ext cx="9144000" cy="487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33" name="Google Shape;33;p5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34" name="Google Shape;34;p5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5" name="Google Shape;35;p5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36" name="Google Shape;36;p5"/>
          <p:cNvSpPr txBox="1">
            <a:spLocks noGrp="1"/>
          </p:cNvSpPr>
          <p:nvPr>
            <p:ph type="title"/>
          </p:nvPr>
        </p:nvSpPr>
        <p:spPr>
          <a:xfrm>
            <a:off x="729450" y="1318650"/>
            <a:ext cx="76884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2pPr>
            <a:lvl3pPr lvl="2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3pPr>
            <a:lvl4pPr lvl="3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4pPr>
            <a:lvl5pPr lvl="4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5pPr>
            <a:lvl6pPr lvl="5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6pPr>
            <a:lvl7pPr lvl="6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7pPr>
            <a:lvl8pPr lvl="7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8pPr>
            <a:lvl9pPr lvl="8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body" idx="1"/>
          </p:nvPr>
        </p:nvSpPr>
        <p:spPr>
          <a:xfrm>
            <a:off x="729325" y="2078875"/>
            <a:ext cx="3774300" cy="226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38" name="Google Shape;38;p5"/>
          <p:cNvSpPr txBox="1">
            <a:spLocks noGrp="1"/>
          </p:cNvSpPr>
          <p:nvPr>
            <p:ph type="body" idx="2"/>
          </p:nvPr>
        </p:nvSpPr>
        <p:spPr>
          <a:xfrm>
            <a:off x="4643604" y="2078875"/>
            <a:ext cx="3774300" cy="226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39" name="Google Shape;39;p5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6"/>
          <p:cNvSpPr/>
          <p:nvPr/>
        </p:nvSpPr>
        <p:spPr>
          <a:xfrm>
            <a:off x="0" y="0"/>
            <a:ext cx="9144000" cy="487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42" name="Google Shape;42;p6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43" name="Google Shape;43;p6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44" name="Google Shape;44;p6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45" name="Google Shape;45;p6"/>
          <p:cNvSpPr txBox="1">
            <a:spLocks noGrp="1"/>
          </p:cNvSpPr>
          <p:nvPr>
            <p:ph type="title"/>
          </p:nvPr>
        </p:nvSpPr>
        <p:spPr>
          <a:xfrm>
            <a:off x="729450" y="1318650"/>
            <a:ext cx="76884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2pPr>
            <a:lvl3pPr lvl="2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3pPr>
            <a:lvl4pPr lvl="3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4pPr>
            <a:lvl5pPr lvl="4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5pPr>
            <a:lvl6pPr lvl="5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6pPr>
            <a:lvl7pPr lvl="6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7pPr>
            <a:lvl8pPr lvl="7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8pPr>
            <a:lvl9pPr lvl="8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9pPr>
          </a:lstStyle>
          <a:p>
            <a:endParaRPr/>
          </a:p>
        </p:txBody>
      </p:sp>
      <p:sp>
        <p:nvSpPr>
          <p:cNvPr id="46" name="Google Shape;46;p6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7"/>
          <p:cNvSpPr/>
          <p:nvPr/>
        </p:nvSpPr>
        <p:spPr>
          <a:xfrm>
            <a:off x="0" y="0"/>
            <a:ext cx="9144000" cy="487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49" name="Google Shape;49;p7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50" name="Google Shape;50;p7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1" name="Google Shape;51;p7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52" name="Google Shape;52;p7"/>
          <p:cNvSpPr txBox="1">
            <a:spLocks noGrp="1"/>
          </p:cNvSpPr>
          <p:nvPr>
            <p:ph type="title"/>
          </p:nvPr>
        </p:nvSpPr>
        <p:spPr>
          <a:xfrm>
            <a:off x="730000" y="1318650"/>
            <a:ext cx="3300900" cy="138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2pPr>
            <a:lvl3pPr lvl="2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3pPr>
            <a:lvl4pPr lvl="3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4pPr>
            <a:lvl5pPr lvl="4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5pPr>
            <a:lvl6pPr lvl="5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6pPr>
            <a:lvl7pPr lvl="6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7pPr>
            <a:lvl8pPr lvl="7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8pPr>
            <a:lvl9pPr lvl="8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9pPr>
          </a:lstStyle>
          <a:p>
            <a:endParaRPr/>
          </a:p>
        </p:txBody>
      </p:sp>
      <p:sp>
        <p:nvSpPr>
          <p:cNvPr id="53" name="Google Shape;53;p7"/>
          <p:cNvSpPr txBox="1">
            <a:spLocks noGrp="1"/>
          </p:cNvSpPr>
          <p:nvPr>
            <p:ph type="body" idx="1"/>
          </p:nvPr>
        </p:nvSpPr>
        <p:spPr>
          <a:xfrm>
            <a:off x="721225" y="2781725"/>
            <a:ext cx="3300900" cy="1597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54" name="Google Shape;54;p7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bg>
      <p:bgPr>
        <a:solidFill>
          <a:schemeClr val="accent3"/>
        </a:solidFill>
        <a:effectLst/>
      </p:bgPr>
    </p:bg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oogle Shape;56;p8"/>
          <p:cNvGrpSpPr/>
          <p:nvPr/>
        </p:nvGrpSpPr>
        <p:grpSpPr>
          <a:xfrm>
            <a:off x="830392" y="4169130"/>
            <a:ext cx="745763" cy="45826"/>
            <a:chOff x="4580561" y="2589004"/>
            <a:chExt cx="1064464" cy="25200"/>
          </a:xfrm>
        </p:grpSpPr>
        <p:sp>
          <p:nvSpPr>
            <p:cNvPr id="57" name="Google Shape;57;p8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8" name="Google Shape;58;p8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59" name="Google Shape;59;p8"/>
          <p:cNvSpPr txBox="1">
            <a:spLocks noGrp="1"/>
          </p:cNvSpPr>
          <p:nvPr>
            <p:ph type="title"/>
          </p:nvPr>
        </p:nvSpPr>
        <p:spPr>
          <a:xfrm>
            <a:off x="729450" y="864300"/>
            <a:ext cx="7021200" cy="298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0" name="Google Shape;60;p8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9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63" name="Google Shape;63;p9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64" name="Google Shape;64;p9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65" name="Google Shape;65;p9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66" name="Google Shape;66;p9"/>
          <p:cNvSpPr txBox="1">
            <a:spLocks noGrp="1"/>
          </p:cNvSpPr>
          <p:nvPr>
            <p:ph type="title"/>
          </p:nvPr>
        </p:nvSpPr>
        <p:spPr>
          <a:xfrm>
            <a:off x="730000" y="1318650"/>
            <a:ext cx="3300900" cy="168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2pPr>
            <a:lvl3pPr lvl="2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3pPr>
            <a:lvl4pPr lvl="3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4pPr>
            <a:lvl5pPr lvl="4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5pPr>
            <a:lvl6pPr lvl="5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6pPr>
            <a:lvl7pPr lvl="6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7pPr>
            <a:lvl8pPr lvl="7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8pPr>
            <a:lvl9pPr lvl="8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9pPr>
          </a:lstStyle>
          <a:p>
            <a:endParaRPr/>
          </a:p>
        </p:txBody>
      </p:sp>
      <p:sp>
        <p:nvSpPr>
          <p:cNvPr id="67" name="Google Shape;67;p9"/>
          <p:cNvSpPr txBox="1">
            <a:spLocks noGrp="1"/>
          </p:cNvSpPr>
          <p:nvPr>
            <p:ph type="subTitle" idx="1"/>
          </p:nvPr>
        </p:nvSpPr>
        <p:spPr>
          <a:xfrm>
            <a:off x="724950" y="3161525"/>
            <a:ext cx="3300900" cy="759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9"/>
          <p:cNvSpPr txBox="1">
            <a:spLocks noGrp="1"/>
          </p:cNvSpPr>
          <p:nvPr>
            <p:ph type="body" idx="2"/>
          </p:nvPr>
        </p:nvSpPr>
        <p:spPr>
          <a:xfrm>
            <a:off x="5174225" y="1352625"/>
            <a:ext cx="3374400" cy="302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69" name="Google Shape;6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0"/>
          <p:cNvSpPr txBox="1">
            <a:spLocks noGrp="1"/>
          </p:cNvSpPr>
          <p:nvPr>
            <p:ph type="body" idx="1"/>
          </p:nvPr>
        </p:nvSpPr>
        <p:spPr>
          <a:xfrm>
            <a:off x="724950" y="4372551"/>
            <a:ext cx="7697400" cy="460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</a:lstStyle>
          <a:p>
            <a:endParaRPr/>
          </a:p>
        </p:txBody>
      </p:sp>
      <p:sp>
        <p:nvSpPr>
          <p:cNvPr id="72" name="Google Shape;72;p10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treamline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06C93A-8923-44EF-9EEE-97CC1E4FD2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427539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06C93A-8923-44EF-9EEE-97CC1E4FD2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3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lvl="1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lvl="2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lvl="3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lvl="4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lvl="5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lvl="6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lvl="7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lvl="8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6429EC7-286C-42C5-A66B-A0D6447647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56001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6429EC7-286C-42C5-A66B-A0D644764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9" name="Google Shape;129;p2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30" name="Google Shape;130;p2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31" name="Google Shape;131;p2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 rtl="0">
              <a:buNone/>
              <a:defRPr sz="1000">
                <a:solidFill>
                  <a:schemeClr val="dk2"/>
                </a:solidFill>
              </a:defRPr>
            </a:lvl1pPr>
            <a:lvl2pPr lvl="1" algn="r" rtl="0">
              <a:buNone/>
              <a:defRPr sz="1000">
                <a:solidFill>
                  <a:schemeClr val="dk2"/>
                </a:solidFill>
              </a:defRPr>
            </a:lvl2pPr>
            <a:lvl3pPr lvl="2" algn="r" rtl="0">
              <a:buNone/>
              <a:defRPr sz="1000">
                <a:solidFill>
                  <a:schemeClr val="dk2"/>
                </a:solidFill>
              </a:defRPr>
            </a:lvl3pPr>
            <a:lvl4pPr lvl="3" algn="r" rtl="0">
              <a:buNone/>
              <a:defRPr sz="1000">
                <a:solidFill>
                  <a:schemeClr val="dk2"/>
                </a:solidFill>
              </a:defRPr>
            </a:lvl4pPr>
            <a:lvl5pPr lvl="4" algn="r" rtl="0">
              <a:buNone/>
              <a:defRPr sz="1000">
                <a:solidFill>
                  <a:schemeClr val="dk2"/>
                </a:solidFill>
              </a:defRPr>
            </a:lvl5pPr>
            <a:lvl6pPr lvl="5" algn="r" rtl="0">
              <a:buNone/>
              <a:defRPr sz="1000">
                <a:solidFill>
                  <a:schemeClr val="dk2"/>
                </a:solidFill>
              </a:defRPr>
            </a:lvl6pPr>
            <a:lvl7pPr lvl="6" algn="r" rtl="0">
              <a:buNone/>
              <a:defRPr sz="1000">
                <a:solidFill>
                  <a:schemeClr val="dk2"/>
                </a:solidFill>
              </a:defRPr>
            </a:lvl7pPr>
            <a:lvl8pPr lvl="7" algn="r" rtl="0">
              <a:buNone/>
              <a:defRPr sz="1000">
                <a:solidFill>
                  <a:schemeClr val="dk2"/>
                </a:solidFill>
              </a:defRPr>
            </a:lvl8pPr>
            <a:lvl9pPr lvl="8" algn="r" rtl="0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slide" Target="slide12.xml"/><Relationship Id="rId5" Type="http://schemas.openxmlformats.org/officeDocument/2006/relationships/image" Target="../media/image1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4.xml"/><Relationship Id="rId7" Type="http://schemas.openxmlformats.org/officeDocument/2006/relationships/slide" Target="slide1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colab.research.google.com/drive/1iwAiRg_ukhaU-k8-I46bDNzpVsM01E4u#scrollTo=sJBEqDdmVcMf" TargetMode="Externa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svg"/><Relationship Id="rId18" Type="http://schemas.openxmlformats.org/officeDocument/2006/relationships/image" Target="../media/image14.png"/><Relationship Id="rId3" Type="http://schemas.openxmlformats.org/officeDocument/2006/relationships/notesSlide" Target="../notesSlides/notesSlide4.xml"/><Relationship Id="rId21" Type="http://schemas.openxmlformats.org/officeDocument/2006/relationships/image" Target="../media/image17.svg"/><Relationship Id="rId7" Type="http://schemas.openxmlformats.org/officeDocument/2006/relationships/image" Target="../media/image3.svg"/><Relationship Id="rId12" Type="http://schemas.openxmlformats.org/officeDocument/2006/relationships/image" Target="../media/image8.png"/><Relationship Id="rId17" Type="http://schemas.openxmlformats.org/officeDocument/2006/relationships/image" Target="../media/image13.sv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2.png"/><Relationship Id="rId20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11" Type="http://schemas.openxmlformats.org/officeDocument/2006/relationships/image" Target="../media/image7.svg"/><Relationship Id="rId5" Type="http://schemas.openxmlformats.org/officeDocument/2006/relationships/image" Target="../media/image1.emf"/><Relationship Id="rId15" Type="http://schemas.openxmlformats.org/officeDocument/2006/relationships/image" Target="../media/image11.svg"/><Relationship Id="rId10" Type="http://schemas.openxmlformats.org/officeDocument/2006/relationships/image" Target="../media/image6.png"/><Relationship Id="rId19" Type="http://schemas.openxmlformats.org/officeDocument/2006/relationships/image" Target="../media/image15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5.svg"/><Relationship Id="rId1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90C212-92CF-479A-B02D-BABCF28152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4341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090C212-92CF-479A-B02D-BABCF281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Google Shape;177;p37"/>
          <p:cNvSpPr txBox="1">
            <a:spLocks noGrp="1"/>
          </p:cNvSpPr>
          <p:nvPr>
            <p:ph type="ctrTitle"/>
          </p:nvPr>
        </p:nvSpPr>
        <p:spPr>
          <a:xfrm>
            <a:off x="729450" y="1360870"/>
            <a:ext cx="7688100" cy="166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Estimating Credit Worthiness </a:t>
            </a:r>
            <a:r>
              <a:rPr lang="en-GB" sz="3800" dirty="0"/>
              <a:t>of</a:t>
            </a:r>
            <a:r>
              <a:rPr lang="en-GB" dirty="0"/>
              <a:t> Rural India </a:t>
            </a:r>
            <a:endParaRPr dirty="0"/>
          </a:p>
        </p:txBody>
      </p:sp>
      <p:sp>
        <p:nvSpPr>
          <p:cNvPr id="178" name="Google Shape;178;p37"/>
          <p:cNvSpPr txBox="1">
            <a:spLocks noGrp="1"/>
          </p:cNvSpPr>
          <p:nvPr>
            <p:ph type="subTitle" idx="1"/>
          </p:nvPr>
        </p:nvSpPr>
        <p:spPr>
          <a:xfrm>
            <a:off x="798781" y="2719541"/>
            <a:ext cx="7688100" cy="19830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lnSpcReduction="1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An ML Approach</a:t>
            </a: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sz="1400"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sz="1400"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 dirty="0"/>
              <a:t>Aniket Chhabra </a:t>
            </a:r>
            <a:endParaRPr sz="1400"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 dirty="0"/>
              <a:t>15-Sep-2021</a:t>
            </a:r>
            <a:endParaRPr sz="1400" b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Challenges  </a:t>
            </a:r>
            <a:endParaRPr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75587F-E1B3-42A1-B4AF-8B5A23933551}"/>
              </a:ext>
            </a:extLst>
          </p:cNvPr>
          <p:cNvSpPr txBox="1"/>
          <p:nvPr/>
        </p:nvSpPr>
        <p:spPr>
          <a:xfrm>
            <a:off x="251651" y="698167"/>
            <a:ext cx="8761720" cy="18569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>
              <a:solidFill>
                <a:schemeClr val="tx1"/>
              </a:solidFill>
              <a:latin typeface="Raleway"/>
            </a:endParaRPr>
          </a:p>
          <a:p>
            <a:pPr marL="171450" indent="-171450" defTabSz="1019175"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tx1"/>
                </a:solidFill>
                <a:latin typeface="Raleway"/>
              </a:rPr>
              <a:t>Credit data unavailability leads to the scope of human bias/error while determining the loan eligibility.</a:t>
            </a:r>
          </a:p>
          <a:p>
            <a:pPr marL="171450" indent="-171450" defTabSz="1019175"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tx1"/>
                </a:solidFill>
                <a:latin typeface="Raleway"/>
              </a:rPr>
              <a:t>Social class/City should not be criteria for a financial transactions or opportunities</a:t>
            </a:r>
          </a:p>
          <a:p>
            <a:pPr marL="171450" indent="-171450" defTabSz="1019175"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tx1"/>
                </a:solidFill>
                <a:latin typeface="Raleway"/>
              </a:rPr>
              <a:t>Features like City, Primary Business type and Loan purpose have sparse information. Need more sophisticated source to collect the data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Raleway"/>
            </a:endParaRPr>
          </a:p>
          <a:p>
            <a:pPr marR="0" lvl="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endParaRPr lang="en-US" dirty="0">
              <a:solidFill>
                <a:schemeClr val="tx1"/>
              </a:solidFill>
              <a:latin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36770697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75587F-E1B3-42A1-B4AF-8B5A23933551}"/>
              </a:ext>
            </a:extLst>
          </p:cNvPr>
          <p:cNvSpPr txBox="1"/>
          <p:nvPr/>
        </p:nvSpPr>
        <p:spPr>
          <a:xfrm>
            <a:off x="3509681" y="2112029"/>
            <a:ext cx="189219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 sz="2800" b="1" dirty="0">
                <a:solidFill>
                  <a:schemeClr val="tx1"/>
                </a:solidFill>
                <a:latin typeface="Raleway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6851995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Feature Importance Plot – </a:t>
            </a:r>
            <a:r>
              <a:rPr lang="en-GB" sz="2000" b="1" dirty="0" err="1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XGboost</a:t>
            </a:r>
            <a:endParaRPr lang="en-GB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F4B735A-E0EC-45B8-96B3-86CC86EC44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46" y="689625"/>
            <a:ext cx="5715243" cy="281375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206E059-F251-443C-93FA-8DC86300F77E}"/>
              </a:ext>
            </a:extLst>
          </p:cNvPr>
          <p:cNvSpPr txBox="1"/>
          <p:nvPr/>
        </p:nvSpPr>
        <p:spPr>
          <a:xfrm>
            <a:off x="315047" y="3449052"/>
            <a:ext cx="554018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19175">
              <a:spcAft>
                <a:spcPts val="400"/>
              </a:spcAft>
              <a:buClrTx/>
              <a:defRPr/>
            </a:pPr>
            <a:r>
              <a:rPr lang="en-US" b="1" dirty="0">
                <a:solidFill>
                  <a:schemeClr val="tx1"/>
                </a:solidFill>
                <a:latin typeface="Raleway"/>
              </a:rPr>
              <a:t>Feature Importance: </a:t>
            </a:r>
            <a:r>
              <a:rPr lang="en-US" dirty="0">
                <a:solidFill>
                  <a:schemeClr val="tx1"/>
                </a:solidFill>
                <a:latin typeface="Raleway"/>
              </a:rPr>
              <a:t>How many times was the feature is split on</a:t>
            </a:r>
          </a:p>
        </p:txBody>
      </p:sp>
    </p:spTree>
    <p:extLst>
      <p:ext uri="{BB962C8B-B14F-4D97-AF65-F5344CB8AC3E}">
        <p14:creationId xmlns:p14="http://schemas.microsoft.com/office/powerpoint/2010/main" val="2705514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5E307E3-BDFE-481D-89B5-478DBA47C3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5E307E3-BDFE-481D-89B5-478DBA47C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Confusion/Classification Metrices of </a:t>
            </a:r>
            <a:r>
              <a:rPr lang="en-GB" sz="2000" b="1" dirty="0" err="1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XGBoost</a:t>
            </a:r>
            <a:endParaRPr lang="en-GB" sz="2000" dirty="0"/>
          </a:p>
        </p:txBody>
      </p:sp>
      <p:sp>
        <p:nvSpPr>
          <p:cNvPr id="14" name="Rectangle: Rounded Corners 13">
            <a:hlinkClick r:id="rId6" action="ppaction://hlinksldjump"/>
            <a:extLst>
              <a:ext uri="{FF2B5EF4-FFF2-40B4-BE49-F238E27FC236}">
                <a16:creationId xmlns:a16="http://schemas.microsoft.com/office/drawing/2014/main" id="{5BFE5EF5-D8D9-499D-B741-86F4F61126BF}"/>
              </a:ext>
            </a:extLst>
          </p:cNvPr>
          <p:cNvSpPr/>
          <p:nvPr/>
        </p:nvSpPr>
        <p:spPr>
          <a:xfrm>
            <a:off x="5892767" y="667153"/>
            <a:ext cx="1436463" cy="259414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Raleway"/>
                <a:cs typeface="Arial"/>
              </a:rPr>
              <a:t>Test Data</a:t>
            </a:r>
          </a:p>
        </p:txBody>
      </p:sp>
      <p:sp>
        <p:nvSpPr>
          <p:cNvPr id="13" name="Rectangle: Rounded Corners 12">
            <a:hlinkClick r:id="rId6" action="ppaction://hlinksldjump"/>
            <a:extLst>
              <a:ext uri="{FF2B5EF4-FFF2-40B4-BE49-F238E27FC236}">
                <a16:creationId xmlns:a16="http://schemas.microsoft.com/office/drawing/2014/main" id="{48D7C383-C0B5-43A0-8ACC-4B32CCF0EAE9}"/>
              </a:ext>
            </a:extLst>
          </p:cNvPr>
          <p:cNvSpPr/>
          <p:nvPr/>
        </p:nvSpPr>
        <p:spPr>
          <a:xfrm>
            <a:off x="576074" y="667153"/>
            <a:ext cx="1436463" cy="259414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Raleway"/>
                <a:cs typeface="Arial"/>
              </a:rPr>
              <a:t>Train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E691164-12D9-4D37-8263-7888392CD9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2209" y="926567"/>
            <a:ext cx="3284463" cy="256392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5A7F6E1-C4B0-4574-B77E-A75A393EBD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07249" y="3490490"/>
            <a:ext cx="4345146" cy="15383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EA5684E-CB17-4C6B-8D08-946877966E4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96466" y="964755"/>
            <a:ext cx="3284463" cy="243158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38C8B9F-C56E-41A9-9CE9-07D0DFACFA0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386" y="3513542"/>
            <a:ext cx="4345146" cy="153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2555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5E307E3-BDFE-481D-89B5-478DBA47C3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802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5E307E3-BDFE-481D-89B5-478DBA47C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15386BAE-9C6B-452E-8841-FA7F202DA4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86999" y="926567"/>
            <a:ext cx="3284462" cy="2643118"/>
          </a:xfrm>
          <a:prstGeom prst="rect">
            <a:avLst/>
          </a:prstGeom>
        </p:spPr>
      </p:pic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Confusion/Classification Metrices of Random Forest</a:t>
            </a:r>
            <a:endParaRPr lang="en-GB" sz="2000" dirty="0"/>
          </a:p>
        </p:txBody>
      </p:sp>
      <p:sp>
        <p:nvSpPr>
          <p:cNvPr id="14" name="Rectangle: Rounded Corners 13">
            <a:hlinkClick r:id="rId7" action="ppaction://hlinksldjump"/>
            <a:extLst>
              <a:ext uri="{FF2B5EF4-FFF2-40B4-BE49-F238E27FC236}">
                <a16:creationId xmlns:a16="http://schemas.microsoft.com/office/drawing/2014/main" id="{5BFE5EF5-D8D9-499D-B741-86F4F61126BF}"/>
              </a:ext>
            </a:extLst>
          </p:cNvPr>
          <p:cNvSpPr/>
          <p:nvPr/>
        </p:nvSpPr>
        <p:spPr>
          <a:xfrm>
            <a:off x="5892767" y="667153"/>
            <a:ext cx="1436463" cy="259414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Raleway"/>
                <a:cs typeface="Arial"/>
              </a:rPr>
              <a:t>Test Da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FBEC389-130E-447C-BC78-2D2579D37C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740" y="3716237"/>
            <a:ext cx="4122536" cy="136998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CEF05CD-A1CD-4012-BF09-B520397E1A6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1358" y="895002"/>
            <a:ext cx="3508936" cy="2751710"/>
          </a:xfrm>
          <a:prstGeom prst="rect">
            <a:avLst/>
          </a:prstGeom>
        </p:spPr>
      </p:pic>
      <p:sp>
        <p:nvSpPr>
          <p:cNvPr id="13" name="Rectangle: Rounded Corners 12">
            <a:hlinkClick r:id="rId7" action="ppaction://hlinksldjump"/>
            <a:extLst>
              <a:ext uri="{FF2B5EF4-FFF2-40B4-BE49-F238E27FC236}">
                <a16:creationId xmlns:a16="http://schemas.microsoft.com/office/drawing/2014/main" id="{48D7C383-C0B5-43A0-8ACC-4B32CCF0EAE9}"/>
              </a:ext>
            </a:extLst>
          </p:cNvPr>
          <p:cNvSpPr/>
          <p:nvPr/>
        </p:nvSpPr>
        <p:spPr>
          <a:xfrm>
            <a:off x="576074" y="667153"/>
            <a:ext cx="1436463" cy="259414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Raleway"/>
                <a:cs typeface="Arial"/>
              </a:rPr>
              <a:t>Train Data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E6682BD-9747-478E-9A95-1FD8E07A70B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35923" y="3569685"/>
            <a:ext cx="4008184" cy="1441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3403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Exploratory Data Analysis Results</a:t>
            </a:r>
            <a:endParaRPr lang="en-GB" sz="2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206E059-F251-443C-93FA-8DC86300F77E}"/>
              </a:ext>
            </a:extLst>
          </p:cNvPr>
          <p:cNvSpPr txBox="1"/>
          <p:nvPr/>
        </p:nvSpPr>
        <p:spPr>
          <a:xfrm>
            <a:off x="130628" y="2412371"/>
            <a:ext cx="305824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19175">
              <a:spcAft>
                <a:spcPts val="400"/>
              </a:spcAft>
              <a:buClrTx/>
              <a:defRPr/>
            </a:pPr>
            <a:r>
              <a:rPr lang="en-US" sz="1050" b="1" dirty="0">
                <a:solidFill>
                  <a:schemeClr val="tx1"/>
                </a:solidFill>
                <a:latin typeface="Raleway"/>
              </a:rPr>
              <a:t>Annual Income – </a:t>
            </a:r>
            <a:r>
              <a:rPr lang="en-US" sz="1050" dirty="0">
                <a:solidFill>
                  <a:schemeClr val="tx1"/>
                </a:solidFill>
                <a:latin typeface="Raleway"/>
              </a:rPr>
              <a:t>from continues to categori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76E4BDF-D456-47F1-A9DC-C2FB20087C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628" y="605100"/>
            <a:ext cx="3106973" cy="181807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04336-63DD-404C-9AAB-FBB6F9F7E9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50024" y="605100"/>
            <a:ext cx="3348972" cy="256072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550FFD7-1D38-4F9F-9D81-1F9E68F7DEAB}"/>
              </a:ext>
            </a:extLst>
          </p:cNvPr>
          <p:cNvSpPr txBox="1"/>
          <p:nvPr/>
        </p:nvSpPr>
        <p:spPr>
          <a:xfrm>
            <a:off x="3957278" y="3118304"/>
            <a:ext cx="305824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9175">
              <a:spcAft>
                <a:spcPts val="400"/>
              </a:spcAft>
              <a:buClrTx/>
              <a:defRPr/>
            </a:pPr>
            <a:r>
              <a:rPr lang="en-US" sz="1050" b="1" dirty="0">
                <a:solidFill>
                  <a:schemeClr val="tx1"/>
                </a:solidFill>
                <a:latin typeface="Raleway"/>
              </a:rPr>
              <a:t>Loan Purpose Categories</a:t>
            </a:r>
            <a:endParaRPr lang="en-US" sz="1050" dirty="0">
              <a:solidFill>
                <a:schemeClr val="tx1"/>
              </a:solidFill>
              <a:latin typeface="Raleway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E348D4-FC32-43FE-BE23-2E990A3286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846247"/>
            <a:ext cx="3688336" cy="184246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B4811CC-B396-4A19-8A07-5B0EE2D7B511}"/>
              </a:ext>
            </a:extLst>
          </p:cNvPr>
          <p:cNvSpPr txBox="1"/>
          <p:nvPr/>
        </p:nvSpPr>
        <p:spPr>
          <a:xfrm>
            <a:off x="130628" y="4791276"/>
            <a:ext cx="305824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9175">
              <a:spcAft>
                <a:spcPts val="400"/>
              </a:spcAft>
              <a:buClrTx/>
              <a:defRPr/>
            </a:pPr>
            <a:r>
              <a:rPr lang="en-US" sz="1050" b="1" dirty="0">
                <a:solidFill>
                  <a:schemeClr val="tx1"/>
                </a:solidFill>
                <a:latin typeface="Raleway"/>
              </a:rPr>
              <a:t>Correlation Matrix</a:t>
            </a:r>
            <a:endParaRPr lang="en-US" sz="1050" dirty="0">
              <a:solidFill>
                <a:schemeClr val="tx1"/>
              </a:solidFill>
              <a:latin typeface="Raleway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43D82CA-B276-4A6C-8A1D-6241556ACDE2}"/>
              </a:ext>
            </a:extLst>
          </p:cNvPr>
          <p:cNvSpPr txBox="1"/>
          <p:nvPr/>
        </p:nvSpPr>
        <p:spPr>
          <a:xfrm>
            <a:off x="4295375" y="3636674"/>
            <a:ext cx="16520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19175">
              <a:spcAft>
                <a:spcPts val="400"/>
              </a:spcAft>
              <a:buClrTx/>
              <a:defRPr/>
            </a:pPr>
            <a:r>
              <a:rPr lang="en-US" sz="1100" b="1" dirty="0">
                <a:solidFill>
                  <a:schemeClr val="tx1"/>
                </a:solidFill>
                <a:latin typeface="Raleway"/>
              </a:rPr>
              <a:t>Full EDA Link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43F6281-1DDF-4E90-95FC-BDD06EB15377}"/>
              </a:ext>
            </a:extLst>
          </p:cNvPr>
          <p:cNvSpPr txBox="1"/>
          <p:nvPr/>
        </p:nvSpPr>
        <p:spPr>
          <a:xfrm>
            <a:off x="4295375" y="3799736"/>
            <a:ext cx="461426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6"/>
              </a:rPr>
              <a:t>https://colab.research.google.com/drive/1iwAiRg_ukhaU-k8-I46bDNzpVsM01E4u#scrollTo=sJBEqDdmVcMf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8101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8"/>
          <p:cNvSpPr txBox="1">
            <a:spLocks noGrp="1"/>
          </p:cNvSpPr>
          <p:nvPr>
            <p:ph type="title"/>
          </p:nvPr>
        </p:nvSpPr>
        <p:spPr>
          <a:xfrm>
            <a:off x="0" y="0"/>
            <a:ext cx="9084600" cy="489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Agenda	</a:t>
            </a:r>
            <a:endParaRPr dirty="0"/>
          </a:p>
        </p:txBody>
      </p:sp>
      <p:sp>
        <p:nvSpPr>
          <p:cNvPr id="184" name="Google Shape;184;p38"/>
          <p:cNvSpPr txBox="1">
            <a:spLocks noGrp="1"/>
          </p:cNvSpPr>
          <p:nvPr>
            <p:ph type="body" idx="1"/>
          </p:nvPr>
        </p:nvSpPr>
        <p:spPr>
          <a:xfrm>
            <a:off x="859719" y="1222709"/>
            <a:ext cx="6747474" cy="298814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dk2"/>
                </a:solidFill>
                <a:latin typeface="Raleway"/>
                <a:sym typeface="Raleway"/>
              </a:rPr>
              <a:t>Background and Business Objective</a:t>
            </a:r>
            <a:endParaRPr sz="1600" b="1" dirty="0">
              <a:solidFill>
                <a:schemeClr val="dk2"/>
              </a:solidFill>
              <a:latin typeface="Raleway"/>
              <a:sym typeface="Raleway"/>
            </a:endParaRP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dk2"/>
                </a:solidFill>
                <a:latin typeface="Raleway"/>
                <a:sym typeface="Raleway"/>
              </a:rPr>
              <a:t>ML model Lifecyle</a:t>
            </a:r>
            <a:endParaRPr sz="1600" b="1" dirty="0">
              <a:solidFill>
                <a:schemeClr val="dk2"/>
              </a:solidFill>
              <a:latin typeface="Raleway"/>
              <a:sym typeface="Raleway"/>
            </a:endParaRP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dk2"/>
                </a:solidFill>
                <a:latin typeface="Raleway"/>
                <a:sym typeface="Raleway"/>
              </a:rPr>
              <a:t>Model Building Blocks</a:t>
            </a:r>
            <a:endParaRPr sz="1600" b="1" dirty="0">
              <a:solidFill>
                <a:schemeClr val="dk2"/>
              </a:solidFill>
              <a:latin typeface="Raleway"/>
              <a:sym typeface="Raleway"/>
            </a:endParaRP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dk2"/>
                </a:solidFill>
                <a:latin typeface="Raleway"/>
                <a:sym typeface="Raleway"/>
              </a:rPr>
              <a:t>Drivers Identification of Credit Worthiness</a:t>
            </a:r>
            <a:endParaRPr sz="1600" b="1" dirty="0">
              <a:solidFill>
                <a:schemeClr val="dk2"/>
              </a:solidFill>
              <a:latin typeface="Raleway"/>
              <a:sym typeface="Raleway"/>
            </a:endParaRP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dk2"/>
                </a:solidFill>
                <a:latin typeface="Raleway"/>
                <a:sym typeface="Raleway"/>
              </a:rPr>
              <a:t>Exploratory Data Analysis &amp; Feature Engineering Results</a:t>
            </a:r>
            <a:endParaRPr sz="1600" b="1" dirty="0">
              <a:solidFill>
                <a:schemeClr val="dk2"/>
              </a:solidFill>
              <a:latin typeface="Raleway"/>
              <a:sym typeface="Raleway"/>
            </a:endParaRP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dk2"/>
                </a:solidFill>
                <a:latin typeface="Raleway"/>
                <a:sym typeface="Raleway"/>
              </a:rPr>
              <a:t>Model Results/Findings</a:t>
            </a:r>
            <a:endParaRPr sz="1600" b="1" dirty="0">
              <a:solidFill>
                <a:schemeClr val="dk2"/>
              </a:solidFill>
              <a:latin typeface="Raleway"/>
              <a:sym typeface="Raleway"/>
            </a:endParaRP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dk2"/>
                </a:solidFill>
                <a:latin typeface="Raleway"/>
                <a:sym typeface="Raleway"/>
              </a:rPr>
              <a:t>Next Steps and recommendations</a:t>
            </a: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dk2"/>
                </a:solidFill>
                <a:latin typeface="Raleway"/>
                <a:sym typeface="Raleway"/>
              </a:rPr>
              <a:t>Challenges</a:t>
            </a: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dk2"/>
                </a:solidFill>
                <a:latin typeface="Raleway"/>
                <a:sym typeface="Raleway"/>
              </a:rPr>
              <a:t>Appendix</a:t>
            </a: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endParaRPr sz="1600" b="1" dirty="0">
              <a:solidFill>
                <a:schemeClr val="dk2"/>
              </a:solidFill>
              <a:latin typeface="Raleway"/>
              <a:sym typeface="Raleway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6" name="Google Shape;196;p40"/>
          <p:cNvSpPr txBox="1">
            <a:spLocks noGrp="1"/>
          </p:cNvSpPr>
          <p:nvPr>
            <p:ph type="body" idx="1"/>
          </p:nvPr>
        </p:nvSpPr>
        <p:spPr>
          <a:xfrm>
            <a:off x="0" y="583500"/>
            <a:ext cx="9144000" cy="454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rgbClr val="000000"/>
                </a:solidFill>
                <a:latin typeface="Raleway"/>
                <a:sym typeface="Lato"/>
              </a:rPr>
              <a:t>In the Banking industry, loan applications are generally approved post a thorough background check of the</a:t>
            </a:r>
            <a:endParaRPr sz="1200" dirty="0">
              <a:solidFill>
                <a:srgbClr val="000000"/>
              </a:solidFill>
              <a:latin typeface="Raleway"/>
              <a:sym typeface="Lato"/>
            </a:endParaRPr>
          </a:p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rgbClr val="000000"/>
                </a:solidFill>
                <a:latin typeface="Raleway"/>
                <a:sym typeface="Lato"/>
              </a:rPr>
              <a:t>customer's repayment capabilities wherein the Credit Score plays a significant role in identifying customer's financial behaviour (specifically default). However, people belonging to the rural India don't have a credit score thus making direct assessment a difficult process. </a:t>
            </a:r>
            <a:endParaRPr sz="1200" dirty="0">
              <a:solidFill>
                <a:srgbClr val="000000"/>
              </a:solidFill>
              <a:latin typeface="Raleway"/>
              <a:sym typeface="Lato"/>
            </a:endParaRPr>
          </a:p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dirty="0">
              <a:solidFill>
                <a:srgbClr val="000000"/>
              </a:solidFill>
              <a:latin typeface="Raleway"/>
              <a:sym typeface="Lato"/>
            </a:endParaRPr>
          </a:p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rgbClr val="000000"/>
                </a:solidFill>
                <a:latin typeface="Raleway"/>
                <a:sym typeface="Lato"/>
              </a:rPr>
              <a:t>The downloaded dataset is a collection of loan applications of rural customers. We need to understand the drivers which are significant in identifying their repayment capabilities by fitting a Regression/Classification algorithm.</a:t>
            </a:r>
          </a:p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sz="1200" dirty="0">
              <a:solidFill>
                <a:srgbClr val="000000"/>
              </a:solidFill>
              <a:latin typeface="Raleway"/>
              <a:sym typeface="Lato"/>
            </a:endParaRPr>
          </a:p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sz="1200" b="1" dirty="0">
              <a:solidFill>
                <a:srgbClr val="000000"/>
              </a:solidFill>
              <a:latin typeface="Raleway"/>
              <a:sym typeface="Lato"/>
            </a:endParaRPr>
          </a:p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 dirty="0">
                <a:solidFill>
                  <a:srgbClr val="00B050"/>
                </a:solidFill>
                <a:latin typeface="Raleway"/>
                <a:sym typeface="Lato"/>
              </a:rPr>
              <a:t>A predictive model will…</a:t>
            </a:r>
          </a:p>
          <a:p>
            <a:pPr marL="377190" indent="-285750"/>
            <a:r>
              <a:rPr lang="en-GB" sz="1200" dirty="0">
                <a:solidFill>
                  <a:srgbClr val="000000"/>
                </a:solidFill>
                <a:latin typeface="Raleway"/>
                <a:sym typeface="Lato"/>
              </a:rPr>
              <a:t>identify a set of applications which are eligible for the loan and How much loan should be provided</a:t>
            </a:r>
          </a:p>
          <a:p>
            <a:pPr marL="377190" indent="-285750"/>
            <a:r>
              <a:rPr lang="en-GB" sz="1200" dirty="0">
                <a:solidFill>
                  <a:srgbClr val="000000"/>
                </a:solidFill>
                <a:latin typeface="Raleway"/>
                <a:sym typeface="Lato"/>
              </a:rPr>
              <a:t>provide the drivers which are significant in determining the repayment capabilities of the loan applicants </a:t>
            </a:r>
          </a:p>
          <a:p>
            <a:pPr marL="377190" indent="-285750"/>
            <a:r>
              <a:rPr lang="en-GB" sz="1200" dirty="0">
                <a:solidFill>
                  <a:srgbClr val="000000"/>
                </a:solidFill>
                <a:latin typeface="Raleway"/>
                <a:sym typeface="Lato"/>
              </a:rPr>
              <a:t>standardizing the process of loan application i.e. approval and rejection</a:t>
            </a:r>
          </a:p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sz="1200" dirty="0">
              <a:solidFill>
                <a:srgbClr val="000000"/>
              </a:solidFill>
              <a:latin typeface="Raleway"/>
              <a:sym typeface="Lato"/>
            </a:endParaRPr>
          </a:p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 dirty="0">
              <a:solidFill>
                <a:srgbClr val="000000"/>
              </a:solidFill>
              <a:latin typeface="Raleway"/>
              <a:sym typeface="Lato"/>
            </a:endParaRPr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Background &amp; Business Objective </a:t>
            </a:r>
            <a:endParaRPr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03A616-49FD-4372-A0BA-B77D6462F1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6354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03A616-49FD-4372-A0BA-B77D6462F1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7F824BA8-8A2F-4093-85EF-769AB6EBE9D1}"/>
              </a:ext>
            </a:extLst>
          </p:cNvPr>
          <p:cNvSpPr/>
          <p:nvPr/>
        </p:nvSpPr>
        <p:spPr>
          <a:xfrm>
            <a:off x="2536463" y="950059"/>
            <a:ext cx="4039266" cy="3750167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Model Lifecycle</a:t>
            </a:r>
            <a:endParaRPr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4532BC5-61E1-444D-8AC7-3055701A4101}"/>
              </a:ext>
            </a:extLst>
          </p:cNvPr>
          <p:cNvSpPr/>
          <p:nvPr/>
        </p:nvSpPr>
        <p:spPr>
          <a:xfrm>
            <a:off x="4508389" y="1567408"/>
            <a:ext cx="63609" cy="72787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579608-29AF-4065-89FC-057DEACCF0BE}"/>
              </a:ext>
            </a:extLst>
          </p:cNvPr>
          <p:cNvSpPr/>
          <p:nvPr/>
        </p:nvSpPr>
        <p:spPr>
          <a:xfrm>
            <a:off x="4508389" y="927589"/>
            <a:ext cx="63609" cy="67102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2710477-F49F-40AC-BDCC-11FB7FAFA45B}"/>
              </a:ext>
            </a:extLst>
          </p:cNvPr>
          <p:cNvSpPr/>
          <p:nvPr/>
        </p:nvSpPr>
        <p:spPr>
          <a:xfrm>
            <a:off x="4166483" y="594602"/>
            <a:ext cx="789170" cy="745593"/>
          </a:xfrm>
          <a:prstGeom prst="ellipse">
            <a:avLst/>
          </a:prstGeom>
          <a:solidFill>
            <a:srgbClr val="CAE6A4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chemeClr val="bg1"/>
              </a:solidFill>
              <a:latin typeface="Raleway"/>
              <a:cs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2D40FC4-FF64-4155-BF3C-FE6DA66E4AD6}"/>
              </a:ext>
            </a:extLst>
          </p:cNvPr>
          <p:cNvSpPr/>
          <p:nvPr/>
        </p:nvSpPr>
        <p:spPr>
          <a:xfrm>
            <a:off x="4508389" y="3972356"/>
            <a:ext cx="63609" cy="72787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E2296E3-90F2-42F3-967D-BFF571DFC87F}"/>
              </a:ext>
            </a:extLst>
          </p:cNvPr>
          <p:cNvSpPr/>
          <p:nvPr/>
        </p:nvSpPr>
        <p:spPr>
          <a:xfrm>
            <a:off x="4508389" y="3332537"/>
            <a:ext cx="63609" cy="67102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8BB9CF3-D0C5-4BB5-B263-28049971BBEF}"/>
              </a:ext>
            </a:extLst>
          </p:cNvPr>
          <p:cNvGrpSpPr/>
          <p:nvPr/>
        </p:nvGrpSpPr>
        <p:grpSpPr>
          <a:xfrm>
            <a:off x="5029828" y="1963802"/>
            <a:ext cx="1280092" cy="445185"/>
            <a:chOff x="4971341" y="1907530"/>
            <a:chExt cx="1280092" cy="445185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D057A25-DB78-4621-9B08-20CF23FCBB6B}"/>
                </a:ext>
              </a:extLst>
            </p:cNvPr>
            <p:cNvSpPr/>
            <p:nvPr/>
          </p:nvSpPr>
          <p:spPr>
            <a:xfrm rot="3447877">
              <a:off x="5303471" y="1956976"/>
              <a:ext cx="63609" cy="72787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031E006-8DCE-4786-8083-594F6995E590}"/>
                </a:ext>
              </a:extLst>
            </p:cNvPr>
            <p:cNvSpPr/>
            <p:nvPr/>
          </p:nvSpPr>
          <p:spPr>
            <a:xfrm rot="3447877">
              <a:off x="5884117" y="1603823"/>
              <a:ext cx="63609" cy="67102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F00166F-93EE-4360-87B1-C3162E1070D4}"/>
              </a:ext>
            </a:extLst>
          </p:cNvPr>
          <p:cNvGrpSpPr/>
          <p:nvPr/>
        </p:nvGrpSpPr>
        <p:grpSpPr>
          <a:xfrm>
            <a:off x="2990305" y="1825761"/>
            <a:ext cx="1144862" cy="487672"/>
            <a:chOff x="3030418" y="1747355"/>
            <a:chExt cx="1144862" cy="487672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8AC8755-F0D9-48BD-BC2C-D63BFBC42947}"/>
                </a:ext>
              </a:extLst>
            </p:cNvPr>
            <p:cNvSpPr/>
            <p:nvPr/>
          </p:nvSpPr>
          <p:spPr>
            <a:xfrm rot="7985867">
              <a:off x="3779540" y="1839288"/>
              <a:ext cx="63609" cy="72787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2A41250-8151-4E08-AEE2-EE2E861119BD}"/>
                </a:ext>
              </a:extLst>
            </p:cNvPr>
            <p:cNvSpPr/>
            <p:nvPr/>
          </p:nvSpPr>
          <p:spPr>
            <a:xfrm rot="7985867">
              <a:off x="3334125" y="1443648"/>
              <a:ext cx="63609" cy="67102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id="{71BEC145-EA83-461B-A3BE-B039A4553A12}"/>
              </a:ext>
            </a:extLst>
          </p:cNvPr>
          <p:cNvSpPr/>
          <p:nvPr/>
        </p:nvSpPr>
        <p:spPr>
          <a:xfrm>
            <a:off x="5974408" y="1329717"/>
            <a:ext cx="789170" cy="745593"/>
          </a:xfrm>
          <a:prstGeom prst="ellipse">
            <a:avLst/>
          </a:prstGeom>
          <a:solidFill>
            <a:srgbClr val="FDB1BE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  <a:latin typeface="Raleway"/>
              <a:cs typeface="Arial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003F80C-519F-4330-A856-6914D228176F}"/>
              </a:ext>
            </a:extLst>
          </p:cNvPr>
          <p:cNvSpPr/>
          <p:nvPr/>
        </p:nvSpPr>
        <p:spPr>
          <a:xfrm>
            <a:off x="4166483" y="4371295"/>
            <a:ext cx="789170" cy="745593"/>
          </a:xfrm>
          <a:prstGeom prst="ellipse">
            <a:avLst/>
          </a:prstGeom>
          <a:solidFill>
            <a:srgbClr val="C3FDD4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  <a:latin typeface="Raleway"/>
              <a:cs typeface="Arial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9BD7B71-453B-4368-9889-A5F43C2161EE}"/>
              </a:ext>
            </a:extLst>
          </p:cNvPr>
          <p:cNvSpPr/>
          <p:nvPr/>
        </p:nvSpPr>
        <p:spPr>
          <a:xfrm>
            <a:off x="2435014" y="1129926"/>
            <a:ext cx="789170" cy="745593"/>
          </a:xfrm>
          <a:prstGeom prst="ellipse">
            <a:avLst/>
          </a:prstGeom>
          <a:solidFill>
            <a:srgbClr val="F4E3A6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  <a:latin typeface="Raleway"/>
              <a:cs typeface="Arial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01427B2-2488-4E74-A598-6EC66B09CFE7}"/>
              </a:ext>
            </a:extLst>
          </p:cNvPr>
          <p:cNvGrpSpPr/>
          <p:nvPr/>
        </p:nvGrpSpPr>
        <p:grpSpPr>
          <a:xfrm>
            <a:off x="4972675" y="3287878"/>
            <a:ext cx="1144862" cy="487672"/>
            <a:chOff x="3030418" y="1747355"/>
            <a:chExt cx="1144862" cy="487672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DBA4E10-CE35-4F49-94CF-82D2BFDE3B53}"/>
                </a:ext>
              </a:extLst>
            </p:cNvPr>
            <p:cNvSpPr/>
            <p:nvPr/>
          </p:nvSpPr>
          <p:spPr>
            <a:xfrm rot="7985867">
              <a:off x="3779540" y="1839288"/>
              <a:ext cx="63609" cy="72787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1F87EE2-3763-4957-9278-987B99406884}"/>
                </a:ext>
              </a:extLst>
            </p:cNvPr>
            <p:cNvSpPr/>
            <p:nvPr/>
          </p:nvSpPr>
          <p:spPr>
            <a:xfrm rot="7985867">
              <a:off x="3334125" y="1443648"/>
              <a:ext cx="63609" cy="67102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11B41C6E-F38D-4019-B6C6-67D616337604}"/>
              </a:ext>
            </a:extLst>
          </p:cNvPr>
          <p:cNvSpPr/>
          <p:nvPr/>
        </p:nvSpPr>
        <p:spPr>
          <a:xfrm>
            <a:off x="5754754" y="3737291"/>
            <a:ext cx="789170" cy="745593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  <a:latin typeface="Raleway"/>
              <a:cs typeface="Arial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035471F-927F-4E55-B67C-6ED74AAE750C}"/>
              </a:ext>
            </a:extLst>
          </p:cNvPr>
          <p:cNvGrpSpPr/>
          <p:nvPr/>
        </p:nvGrpSpPr>
        <p:grpSpPr>
          <a:xfrm>
            <a:off x="2863238" y="3174842"/>
            <a:ext cx="1280092" cy="445185"/>
            <a:chOff x="4971341" y="1907530"/>
            <a:chExt cx="1280092" cy="44518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51AC0FED-3543-4355-BCC1-23C35DFEBB74}"/>
                </a:ext>
              </a:extLst>
            </p:cNvPr>
            <p:cNvSpPr/>
            <p:nvPr/>
          </p:nvSpPr>
          <p:spPr>
            <a:xfrm rot="3447877">
              <a:off x="5303471" y="1956976"/>
              <a:ext cx="63609" cy="72787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6A9DDE8-8E51-43FC-BB18-EC0B445AEF54}"/>
                </a:ext>
              </a:extLst>
            </p:cNvPr>
            <p:cNvSpPr/>
            <p:nvPr/>
          </p:nvSpPr>
          <p:spPr>
            <a:xfrm rot="3447877">
              <a:off x="5884117" y="1603823"/>
              <a:ext cx="63609" cy="67102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0" name="Oval 29">
            <a:extLst>
              <a:ext uri="{FF2B5EF4-FFF2-40B4-BE49-F238E27FC236}">
                <a16:creationId xmlns:a16="http://schemas.microsoft.com/office/drawing/2014/main" id="{33266534-4F9A-4BDA-9249-536763D343C3}"/>
              </a:ext>
            </a:extLst>
          </p:cNvPr>
          <p:cNvSpPr/>
          <p:nvPr/>
        </p:nvSpPr>
        <p:spPr>
          <a:xfrm>
            <a:off x="2310927" y="3550244"/>
            <a:ext cx="789170" cy="745593"/>
          </a:xfrm>
          <a:prstGeom prst="ellipse">
            <a:avLst/>
          </a:prstGeom>
          <a:solidFill>
            <a:srgbClr val="EAA5F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  <a:latin typeface="Raleway"/>
              <a:cs typeface="Arial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EA6E10F-ADFD-4421-9606-4D79C57BB432}"/>
              </a:ext>
            </a:extLst>
          </p:cNvPr>
          <p:cNvSpPr/>
          <p:nvPr/>
        </p:nvSpPr>
        <p:spPr>
          <a:xfrm>
            <a:off x="3927945" y="2264072"/>
            <a:ext cx="1216552" cy="1154989"/>
          </a:xfrm>
          <a:prstGeom prst="ellips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algn="ctr" defTabSz="71120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200" b="1" dirty="0">
                <a:solidFill>
                  <a:schemeClr val="bg1"/>
                </a:solidFill>
                <a:latin typeface="Raleway"/>
                <a:cs typeface="Arial"/>
              </a:rPr>
              <a:t>Predictive Model</a:t>
            </a:r>
          </a:p>
        </p:txBody>
      </p:sp>
      <p:pic>
        <p:nvPicPr>
          <p:cNvPr id="9" name="Graphic 8" descr="Teacher with solid fill">
            <a:extLst>
              <a:ext uri="{FF2B5EF4-FFF2-40B4-BE49-F238E27FC236}">
                <a16:creationId xmlns:a16="http://schemas.microsoft.com/office/drawing/2014/main" id="{4EFA8485-DF04-46EE-A87F-4B6161098C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15080" y="731779"/>
            <a:ext cx="455078" cy="45507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72A2EFF-F65F-492C-9D82-E9EE0AA9B4AC}"/>
              </a:ext>
            </a:extLst>
          </p:cNvPr>
          <p:cNvSpPr txBox="1"/>
          <p:nvPr/>
        </p:nvSpPr>
        <p:spPr>
          <a:xfrm>
            <a:off x="4871607" y="570912"/>
            <a:ext cx="3334142" cy="4497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050" b="1" i="1" dirty="0">
                <a:latin typeface="Raleway"/>
              </a:rPr>
              <a:t>Define Project:</a:t>
            </a:r>
            <a:r>
              <a:rPr lang="en-US" sz="1050" i="1" dirty="0">
                <a:latin typeface="Raleway"/>
              </a:rPr>
              <a:t> </a:t>
            </a:r>
            <a:r>
              <a:rPr lang="en-US" sz="1050" dirty="0">
                <a:latin typeface="Raleway"/>
              </a:rPr>
              <a:t>Business Objective discussions, requirement gathering and approvals</a:t>
            </a:r>
            <a:endParaRPr lang="en-US" sz="1200" dirty="0">
              <a:latin typeface="Raleway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EFABD17-637C-4AB1-B8DF-8BA522E004A4}"/>
              </a:ext>
            </a:extLst>
          </p:cNvPr>
          <p:cNvSpPr txBox="1"/>
          <p:nvPr/>
        </p:nvSpPr>
        <p:spPr>
          <a:xfrm>
            <a:off x="6677178" y="1234715"/>
            <a:ext cx="2346557" cy="1936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050" b="1" i="1" dirty="0">
                <a:latin typeface="Raleway"/>
              </a:rPr>
              <a:t>Data Collection: </a:t>
            </a:r>
            <a:r>
              <a:rPr lang="en-US" sz="1050" dirty="0">
                <a:latin typeface="Raleway"/>
              </a:rPr>
              <a:t>Characteristics of ideal signals –</a:t>
            </a:r>
          </a:p>
          <a:p>
            <a:pPr marL="262890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dirty="0">
                <a:latin typeface="Raleway"/>
              </a:rPr>
              <a:t>Available early in process</a:t>
            </a:r>
          </a:p>
          <a:p>
            <a:pPr marL="262890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dirty="0">
                <a:latin typeface="Raleway"/>
              </a:rPr>
              <a:t>Reliable and robust data </a:t>
            </a:r>
          </a:p>
          <a:p>
            <a:pPr marL="262890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dirty="0">
                <a:latin typeface="Raleway"/>
              </a:rPr>
              <a:t>Independent of other signals</a:t>
            </a:r>
          </a:p>
          <a:p>
            <a:pPr marL="9144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050" b="1" dirty="0">
                <a:latin typeface="Raleway"/>
              </a:rPr>
              <a:t>Note – </a:t>
            </a:r>
            <a:r>
              <a:rPr lang="en-US" sz="1050" dirty="0">
                <a:latin typeface="Raleway"/>
              </a:rPr>
              <a:t>The above steps explains the ideal data collection scenario. Here we have the dataset download from public source</a:t>
            </a:r>
            <a:endParaRPr lang="en-US" sz="1050" b="1" dirty="0">
              <a:latin typeface="Raleway"/>
            </a:endParaRPr>
          </a:p>
          <a:p>
            <a:pPr marL="91440">
              <a:lnSpc>
                <a:spcPct val="115000"/>
              </a:lnSpc>
              <a:buClr>
                <a:schemeClr val="dk2"/>
              </a:buClr>
              <a:buSzPts val="1800"/>
            </a:pPr>
            <a:endParaRPr lang="en-US" sz="1050" dirty="0">
              <a:latin typeface="Raleway"/>
            </a:endParaRPr>
          </a:p>
        </p:txBody>
      </p:sp>
      <p:pic>
        <p:nvPicPr>
          <p:cNvPr id="12" name="Graphic 11" descr="Database with solid fill">
            <a:extLst>
              <a:ext uri="{FF2B5EF4-FFF2-40B4-BE49-F238E27FC236}">
                <a16:creationId xmlns:a16="http://schemas.microsoft.com/office/drawing/2014/main" id="{BD2D16A6-6306-4FDA-BA9D-DD93D609691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116571" y="1432651"/>
            <a:ext cx="518495" cy="518495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280B669C-A466-4ACF-9F33-88B68021CBEF}"/>
              </a:ext>
            </a:extLst>
          </p:cNvPr>
          <p:cNvSpPr txBox="1"/>
          <p:nvPr/>
        </p:nvSpPr>
        <p:spPr>
          <a:xfrm>
            <a:off x="6497897" y="3513507"/>
            <a:ext cx="2457566" cy="1564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050" b="1" i="1" dirty="0">
                <a:latin typeface="Raleway"/>
              </a:rPr>
              <a:t>Data Analysis: </a:t>
            </a:r>
            <a:r>
              <a:rPr lang="en-US" sz="1050" i="1" dirty="0">
                <a:latin typeface="Raleway"/>
              </a:rPr>
              <a:t>Deep diving the data to identify patterns amongst the drivers and target</a:t>
            </a:r>
            <a:endParaRPr lang="en-US" sz="1050" dirty="0">
              <a:latin typeface="Raleway"/>
            </a:endParaRPr>
          </a:p>
          <a:p>
            <a:pPr marL="262890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dirty="0">
                <a:latin typeface="Raleway"/>
              </a:rPr>
              <a:t>Identify the target </a:t>
            </a:r>
          </a:p>
          <a:p>
            <a:pPr marL="262890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dirty="0">
                <a:latin typeface="Raleway"/>
              </a:rPr>
              <a:t>Patterns amongst the target and predictors and within predictors</a:t>
            </a:r>
          </a:p>
          <a:p>
            <a:pPr marL="262890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dirty="0">
                <a:latin typeface="Raleway"/>
              </a:rPr>
              <a:t>New Feature generation/ feature engineering</a:t>
            </a:r>
          </a:p>
        </p:txBody>
      </p:sp>
      <p:pic>
        <p:nvPicPr>
          <p:cNvPr id="15" name="Graphic 14" descr="Research with solid fill">
            <a:extLst>
              <a:ext uri="{FF2B5EF4-FFF2-40B4-BE49-F238E27FC236}">
                <a16:creationId xmlns:a16="http://schemas.microsoft.com/office/drawing/2014/main" id="{614C96EB-2CF2-43E7-9634-9BDB87C641F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05533" y="3825551"/>
            <a:ext cx="470285" cy="470285"/>
          </a:xfrm>
          <a:prstGeom prst="rect">
            <a:avLst/>
          </a:prstGeom>
        </p:spPr>
      </p:pic>
      <p:pic>
        <p:nvPicPr>
          <p:cNvPr id="41" name="Graphic 40" descr="Bar chart with solid fill">
            <a:extLst>
              <a:ext uri="{FF2B5EF4-FFF2-40B4-BE49-F238E27FC236}">
                <a16:creationId xmlns:a16="http://schemas.microsoft.com/office/drawing/2014/main" id="{BE9475AF-A3AC-465C-A9D8-5E02DF03E32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29412" y="4482884"/>
            <a:ext cx="483107" cy="483107"/>
          </a:xfrm>
          <a:prstGeom prst="rect">
            <a:avLst/>
          </a:prstGeom>
        </p:spPr>
      </p:pic>
      <p:pic>
        <p:nvPicPr>
          <p:cNvPr id="43" name="Graphic 42" descr="Statistics with solid fill">
            <a:extLst>
              <a:ext uri="{FF2B5EF4-FFF2-40B4-BE49-F238E27FC236}">
                <a16:creationId xmlns:a16="http://schemas.microsoft.com/office/drawing/2014/main" id="{7D2DA5FA-CBC1-4EC3-84F2-762C5169124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438290" y="3672224"/>
            <a:ext cx="504834" cy="504834"/>
          </a:xfrm>
          <a:prstGeom prst="rect">
            <a:avLst/>
          </a:prstGeom>
        </p:spPr>
      </p:pic>
      <p:pic>
        <p:nvPicPr>
          <p:cNvPr id="45" name="Graphic 44" descr="Clipboard Checked with solid fill">
            <a:extLst>
              <a:ext uri="{FF2B5EF4-FFF2-40B4-BE49-F238E27FC236}">
                <a16:creationId xmlns:a16="http://schemas.microsoft.com/office/drawing/2014/main" id="{DC474794-D867-4723-8C99-452307EE41F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488306" y="1401428"/>
            <a:ext cx="280321" cy="280321"/>
          </a:xfrm>
          <a:prstGeom prst="rect">
            <a:avLst/>
          </a:prstGeom>
        </p:spPr>
      </p:pic>
      <p:pic>
        <p:nvPicPr>
          <p:cNvPr id="47" name="Graphic 46" descr="Robot with solid fill">
            <a:extLst>
              <a:ext uri="{FF2B5EF4-FFF2-40B4-BE49-F238E27FC236}">
                <a16:creationId xmlns:a16="http://schemas.microsoft.com/office/drawing/2014/main" id="{808E6F6F-0C5A-406D-B5E7-3795E7BA4FE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655460" y="1134467"/>
            <a:ext cx="374857" cy="374857"/>
          </a:xfrm>
          <a:prstGeom prst="rect">
            <a:avLst/>
          </a:prstGeom>
        </p:spPr>
      </p:pic>
      <p:pic>
        <p:nvPicPr>
          <p:cNvPr id="49" name="Graphic 48" descr="Gears with solid fill">
            <a:extLst>
              <a:ext uri="{FF2B5EF4-FFF2-40B4-BE49-F238E27FC236}">
                <a16:creationId xmlns:a16="http://schemas.microsoft.com/office/drawing/2014/main" id="{ADE44337-5661-4633-AAFD-5CDD5681973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851720" y="1432651"/>
            <a:ext cx="331921" cy="331921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84130CA7-A094-401E-895A-F16E8311288D}"/>
              </a:ext>
            </a:extLst>
          </p:cNvPr>
          <p:cNvSpPr txBox="1"/>
          <p:nvPr/>
        </p:nvSpPr>
        <p:spPr>
          <a:xfrm>
            <a:off x="1757599" y="4631038"/>
            <a:ext cx="2735561" cy="4497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050" b="1" i="1" dirty="0">
                <a:latin typeface="Raleway"/>
              </a:rPr>
              <a:t>Statistical Hypothesis:</a:t>
            </a:r>
            <a:r>
              <a:rPr lang="en-US" sz="1050" i="1" dirty="0">
                <a:latin typeface="Raleway"/>
              </a:rPr>
              <a:t> </a:t>
            </a:r>
            <a:r>
              <a:rPr lang="en-US" sz="1050" dirty="0">
                <a:latin typeface="Raleway"/>
              </a:rPr>
              <a:t>Validate the data driven hypothesis with business</a:t>
            </a:r>
            <a:endParaRPr lang="en-US" sz="1200" dirty="0">
              <a:latin typeface="Raleway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5A8B520-A537-4A19-A8E4-99CB262CAF99}"/>
              </a:ext>
            </a:extLst>
          </p:cNvPr>
          <p:cNvSpPr txBox="1"/>
          <p:nvPr/>
        </p:nvSpPr>
        <p:spPr>
          <a:xfrm>
            <a:off x="257258" y="3126722"/>
            <a:ext cx="2457566" cy="11930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050" b="1" i="1" dirty="0">
                <a:latin typeface="Raleway"/>
              </a:rPr>
              <a:t>Model Development: </a:t>
            </a:r>
            <a:r>
              <a:rPr lang="en-US" sz="1050" i="1" dirty="0">
                <a:latin typeface="Raleway"/>
              </a:rPr>
              <a:t>Apply the appropriate modeling technique. C</a:t>
            </a:r>
            <a:r>
              <a:rPr lang="en-US" sz="1050" dirty="0">
                <a:latin typeface="Raleway"/>
              </a:rPr>
              <a:t>lassification techniques -</a:t>
            </a:r>
          </a:p>
          <a:p>
            <a:pPr marL="262890" lvl="8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dirty="0">
                <a:latin typeface="Raleway"/>
              </a:rPr>
              <a:t>Ensemble methods like – Random Forest, Boosting Algorithm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2E0D561-55F2-4083-94DF-C1F914E977C7}"/>
              </a:ext>
            </a:extLst>
          </p:cNvPr>
          <p:cNvSpPr txBox="1"/>
          <p:nvPr/>
        </p:nvSpPr>
        <p:spPr>
          <a:xfrm>
            <a:off x="72283" y="1028070"/>
            <a:ext cx="2457566" cy="1007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050" b="1" i="1" dirty="0">
                <a:latin typeface="Raleway"/>
              </a:rPr>
              <a:t>Model Validation and Deployment: </a:t>
            </a:r>
          </a:p>
          <a:p>
            <a:pPr marL="262890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i="1" dirty="0">
                <a:latin typeface="Raleway"/>
              </a:rPr>
              <a:t>Validate the models with various methods and governance tools</a:t>
            </a:r>
          </a:p>
          <a:p>
            <a:pPr marL="262890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i="1" dirty="0">
                <a:latin typeface="Raleway"/>
              </a:rPr>
              <a:t>Deployment with available environment</a:t>
            </a:r>
          </a:p>
        </p:txBody>
      </p:sp>
    </p:spTree>
    <p:extLst>
      <p:ext uri="{BB962C8B-B14F-4D97-AF65-F5344CB8AC3E}">
        <p14:creationId xmlns:p14="http://schemas.microsoft.com/office/powerpoint/2010/main" val="36097136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467519-EC5F-4820-A505-DFE17C41AD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9024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467519-EC5F-4820-A505-DFE17C41AD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" name="Google Shape;197;p40"/>
          <p:cNvSpPr/>
          <p:nvPr/>
        </p:nvSpPr>
        <p:spPr>
          <a:xfrm>
            <a:off x="0" y="1080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00" b="1" dirty="0">
                <a:solidFill>
                  <a:srgbClr val="1A1A1A"/>
                </a:solidFill>
                <a:latin typeface="Raleway"/>
                <a:sym typeface="Raleway"/>
              </a:rPr>
              <a:t>Model Building Blocks</a:t>
            </a:r>
            <a:endParaRPr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CE533BE-6CE3-4E8E-B9A6-73AF0737B2DF}"/>
              </a:ext>
            </a:extLst>
          </p:cNvPr>
          <p:cNvGrpSpPr/>
          <p:nvPr/>
        </p:nvGrpSpPr>
        <p:grpSpPr>
          <a:xfrm>
            <a:off x="130629" y="975873"/>
            <a:ext cx="1876280" cy="3935541"/>
            <a:chOff x="2933749" y="809626"/>
            <a:chExt cx="1904950" cy="4362653"/>
          </a:xfrm>
        </p:grpSpPr>
        <p:sp>
          <p:nvSpPr>
            <p:cNvPr id="78" name="Rounded Rectangle 10">
              <a:extLst>
                <a:ext uri="{FF2B5EF4-FFF2-40B4-BE49-F238E27FC236}">
                  <a16:creationId xmlns:a16="http://schemas.microsoft.com/office/drawing/2014/main" id="{59973E99-0051-4B64-9AA2-E7C5711F7C27}"/>
                </a:ext>
              </a:extLst>
            </p:cNvPr>
            <p:cNvSpPr/>
            <p:nvPr/>
          </p:nvSpPr>
          <p:spPr bwMode="auto">
            <a:xfrm>
              <a:off x="2946831" y="4044895"/>
              <a:ext cx="1678534" cy="464836"/>
            </a:xfrm>
            <a:prstGeom prst="roundRect">
              <a:avLst/>
            </a:prstGeom>
            <a:solidFill>
              <a:srgbClr val="255F38">
                <a:alpha val="63922"/>
              </a:srgbClr>
            </a:solidFill>
            <a:ln w="38100" cap="flat" cmpd="sng" algn="ctr">
              <a:solidFill>
                <a:sysClr val="window" lastClr="FFFFFF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ctr" defTabSz="10191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itchFamily="2" charset="0"/>
                  <a:ea typeface="+mn-ea"/>
                  <a:cs typeface="Calibri" panose="020F0502020204030204" pitchFamily="34" charset="0"/>
                </a:rPr>
                <a:t>Modeling Technique</a:t>
              </a:r>
            </a:p>
          </p:txBody>
        </p:sp>
        <p:sp>
          <p:nvSpPr>
            <p:cNvPr id="79" name="Rounded Rectangle 11">
              <a:extLst>
                <a:ext uri="{FF2B5EF4-FFF2-40B4-BE49-F238E27FC236}">
                  <a16:creationId xmlns:a16="http://schemas.microsoft.com/office/drawing/2014/main" id="{A9F46FA9-8DA8-4718-AB41-DC606C1258C2}"/>
                </a:ext>
              </a:extLst>
            </p:cNvPr>
            <p:cNvSpPr/>
            <p:nvPr/>
          </p:nvSpPr>
          <p:spPr bwMode="auto">
            <a:xfrm>
              <a:off x="2956020" y="1454785"/>
              <a:ext cx="1678534" cy="464836"/>
            </a:xfrm>
            <a:prstGeom prst="roundRect">
              <a:avLst/>
            </a:prstGeom>
            <a:solidFill>
              <a:srgbClr val="0D74A8"/>
            </a:solidFill>
            <a:ln w="38100" cap="flat" cmpd="sng" algn="ctr">
              <a:solidFill>
                <a:sysClr val="window" lastClr="FFFFFF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ctr" defTabSz="10191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itchFamily="2" charset="0"/>
                  <a:ea typeface="+mn-ea"/>
                  <a:cs typeface="Calibri" panose="020F0502020204030204" pitchFamily="34" charset="0"/>
                </a:rPr>
                <a:t>Number of Variables</a:t>
              </a:r>
            </a:p>
          </p:txBody>
        </p:sp>
        <p:sp>
          <p:nvSpPr>
            <p:cNvPr id="80" name="Isosceles Triangle 79">
              <a:extLst>
                <a:ext uri="{FF2B5EF4-FFF2-40B4-BE49-F238E27FC236}">
                  <a16:creationId xmlns:a16="http://schemas.microsoft.com/office/drawing/2014/main" id="{C8FDD7F2-B986-4C2A-935F-98A9002CECA0}"/>
                </a:ext>
              </a:extLst>
            </p:cNvPr>
            <p:cNvSpPr/>
            <p:nvPr/>
          </p:nvSpPr>
          <p:spPr bwMode="auto">
            <a:xfrm rot="5400000">
              <a:off x="4529405" y="1628117"/>
              <a:ext cx="469803" cy="148779"/>
            </a:xfrm>
            <a:prstGeom prst="triangle">
              <a:avLst/>
            </a:prstGeom>
            <a:solidFill>
              <a:srgbClr val="0D74A8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D9A0C">
                    <a:lumMod val="75000"/>
                  </a:srgbClr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81" name="Rounded Rectangle 13">
              <a:extLst>
                <a:ext uri="{FF2B5EF4-FFF2-40B4-BE49-F238E27FC236}">
                  <a16:creationId xmlns:a16="http://schemas.microsoft.com/office/drawing/2014/main" id="{50128F0D-EC94-4B05-9C1B-F8085CC963EB}"/>
                </a:ext>
              </a:extLst>
            </p:cNvPr>
            <p:cNvSpPr/>
            <p:nvPr/>
          </p:nvSpPr>
          <p:spPr bwMode="auto">
            <a:xfrm>
              <a:off x="2969817" y="2145478"/>
              <a:ext cx="1678534" cy="464836"/>
            </a:xfrm>
            <a:prstGeom prst="roundRect">
              <a:avLst/>
            </a:prstGeom>
            <a:solidFill>
              <a:srgbClr val="7F7F7F"/>
            </a:solidFill>
            <a:ln w="38100" cap="flat" cmpd="sng" algn="ctr">
              <a:solidFill>
                <a:sysClr val="window" lastClr="FFFFFF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ctr" defTabSz="10191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1" dirty="0">
                  <a:solidFill>
                    <a:srgbClr val="FFFFFF"/>
                  </a:solidFill>
                  <a:latin typeface="Raleway" pitchFamily="2" charset="0"/>
                  <a:ea typeface="+mn-ea"/>
                  <a:cs typeface="Calibri" panose="020F0502020204030204" pitchFamily="34" charset="0"/>
                </a:rPr>
                <a:t>Target Feature	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82" name="Isosceles Triangle 81">
              <a:extLst>
                <a:ext uri="{FF2B5EF4-FFF2-40B4-BE49-F238E27FC236}">
                  <a16:creationId xmlns:a16="http://schemas.microsoft.com/office/drawing/2014/main" id="{841520DA-3A82-473B-973F-B657DC52A47C}"/>
                </a:ext>
              </a:extLst>
            </p:cNvPr>
            <p:cNvSpPr/>
            <p:nvPr/>
          </p:nvSpPr>
          <p:spPr bwMode="auto">
            <a:xfrm rot="5400000">
              <a:off x="4529408" y="2306306"/>
              <a:ext cx="469803" cy="148779"/>
            </a:xfrm>
            <a:prstGeom prst="triangle">
              <a:avLst/>
            </a:prstGeom>
            <a:solidFill>
              <a:srgbClr val="7F7F7F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D9A0C">
                    <a:lumMod val="75000"/>
                  </a:srgbClr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83" name="Rounded Rectangle 15">
              <a:extLst>
                <a:ext uri="{FF2B5EF4-FFF2-40B4-BE49-F238E27FC236}">
                  <a16:creationId xmlns:a16="http://schemas.microsoft.com/office/drawing/2014/main" id="{9E7EC90A-DD9E-439A-9B7A-4D0F9CB1549B}"/>
                </a:ext>
              </a:extLst>
            </p:cNvPr>
            <p:cNvSpPr/>
            <p:nvPr/>
          </p:nvSpPr>
          <p:spPr bwMode="auto">
            <a:xfrm>
              <a:off x="2956020" y="2821224"/>
              <a:ext cx="1678534" cy="464836"/>
            </a:xfrm>
            <a:prstGeom prst="roundRect">
              <a:avLst/>
            </a:prstGeom>
            <a:solidFill>
              <a:srgbClr val="DDB7AD"/>
            </a:solidFill>
            <a:ln w="38100" cap="flat" cmpd="sng" algn="ctr">
              <a:solidFill>
                <a:sysClr val="window" lastClr="FFFFFF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ctr" defTabSz="10191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itchFamily="2" charset="0"/>
                  <a:ea typeface="+mn-ea"/>
                  <a:cs typeface="Calibri" panose="020F0502020204030204" pitchFamily="34" charset="0"/>
                </a:rPr>
                <a:t>Tools Used</a:t>
              </a:r>
            </a:p>
          </p:txBody>
        </p:sp>
        <p:sp>
          <p:nvSpPr>
            <p:cNvPr id="84" name="Isosceles Triangle 83">
              <a:extLst>
                <a:ext uri="{FF2B5EF4-FFF2-40B4-BE49-F238E27FC236}">
                  <a16:creationId xmlns:a16="http://schemas.microsoft.com/office/drawing/2014/main" id="{9CDEA4CD-987F-4272-B6A6-5E527D221F4F}"/>
                </a:ext>
              </a:extLst>
            </p:cNvPr>
            <p:cNvSpPr/>
            <p:nvPr/>
          </p:nvSpPr>
          <p:spPr bwMode="auto">
            <a:xfrm rot="5400000">
              <a:off x="4520214" y="2979795"/>
              <a:ext cx="469801" cy="148779"/>
            </a:xfrm>
            <a:prstGeom prst="triangle">
              <a:avLst/>
            </a:prstGeom>
            <a:solidFill>
              <a:srgbClr val="DDB7AD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85" name="Rounded Rectangle 17">
              <a:extLst>
                <a:ext uri="{FF2B5EF4-FFF2-40B4-BE49-F238E27FC236}">
                  <a16:creationId xmlns:a16="http://schemas.microsoft.com/office/drawing/2014/main" id="{11E31A10-48A9-49FD-95F7-7A3CF623061C}"/>
                </a:ext>
              </a:extLst>
            </p:cNvPr>
            <p:cNvSpPr/>
            <p:nvPr/>
          </p:nvSpPr>
          <p:spPr bwMode="auto">
            <a:xfrm>
              <a:off x="2946830" y="3421873"/>
              <a:ext cx="1678534" cy="464836"/>
            </a:xfrm>
            <a:prstGeom prst="roundRect">
              <a:avLst/>
            </a:prstGeom>
            <a:solidFill>
              <a:srgbClr val="D08AA6"/>
            </a:solidFill>
            <a:ln w="38100" cap="flat" cmpd="sng" algn="ctr">
              <a:solidFill>
                <a:sysClr val="window" lastClr="FFFFFF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ctr" defTabSz="10191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itchFamily="2" charset="0"/>
                  <a:ea typeface="+mn-ea"/>
                  <a:cs typeface="Calibri" panose="020F0502020204030204" pitchFamily="34" charset="0"/>
                </a:rPr>
                <a:t>Analysis Population</a:t>
              </a:r>
            </a:p>
          </p:txBody>
        </p:sp>
        <p:sp>
          <p:nvSpPr>
            <p:cNvPr id="86" name="Isosceles Triangle 85">
              <a:extLst>
                <a:ext uri="{FF2B5EF4-FFF2-40B4-BE49-F238E27FC236}">
                  <a16:creationId xmlns:a16="http://schemas.microsoft.com/office/drawing/2014/main" id="{47D17E82-1952-4FA9-9E2B-994A3347958B}"/>
                </a:ext>
              </a:extLst>
            </p:cNvPr>
            <p:cNvSpPr/>
            <p:nvPr/>
          </p:nvSpPr>
          <p:spPr bwMode="auto">
            <a:xfrm rot="5400000">
              <a:off x="4511024" y="3585242"/>
              <a:ext cx="469802" cy="148779"/>
            </a:xfrm>
            <a:prstGeom prst="triangle">
              <a:avLst/>
            </a:prstGeom>
            <a:solidFill>
              <a:srgbClr val="D08AA6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D9A0C">
                    <a:lumMod val="75000"/>
                  </a:srgbClr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87" name="Isosceles Triangle 86">
              <a:extLst>
                <a:ext uri="{FF2B5EF4-FFF2-40B4-BE49-F238E27FC236}">
                  <a16:creationId xmlns:a16="http://schemas.microsoft.com/office/drawing/2014/main" id="{D5B6B469-32C3-48B0-90D8-0281BD136515}"/>
                </a:ext>
              </a:extLst>
            </p:cNvPr>
            <p:cNvSpPr/>
            <p:nvPr/>
          </p:nvSpPr>
          <p:spPr bwMode="auto">
            <a:xfrm rot="5400000">
              <a:off x="4511024" y="4189499"/>
              <a:ext cx="469802" cy="148779"/>
            </a:xfrm>
            <a:prstGeom prst="triangle">
              <a:avLst/>
            </a:prstGeom>
            <a:solidFill>
              <a:srgbClr val="255F38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88" name="Rounded Rectangle 20">
              <a:extLst>
                <a:ext uri="{FF2B5EF4-FFF2-40B4-BE49-F238E27FC236}">
                  <a16:creationId xmlns:a16="http://schemas.microsoft.com/office/drawing/2014/main" id="{71E524BF-EC85-40F9-A4B8-1E1CEE13718A}"/>
                </a:ext>
              </a:extLst>
            </p:cNvPr>
            <p:cNvSpPr/>
            <p:nvPr/>
          </p:nvSpPr>
          <p:spPr bwMode="auto">
            <a:xfrm>
              <a:off x="2956020" y="809626"/>
              <a:ext cx="1678534" cy="464836"/>
            </a:xfrm>
            <a:prstGeom prst="roundRect">
              <a:avLst/>
            </a:prstGeom>
            <a:solidFill>
              <a:srgbClr val="22807F"/>
            </a:solidFill>
            <a:ln w="38100" cap="flat" cmpd="sng" algn="ctr">
              <a:solidFill>
                <a:sysClr val="window" lastClr="FFFFFF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ctr" defTabSz="10191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itchFamily="2" charset="0"/>
                  <a:ea typeface="+mn-ea"/>
                  <a:cs typeface="Calibri" panose="020F0502020204030204" pitchFamily="34" charset="0"/>
                </a:rPr>
                <a:t>Data Source</a:t>
              </a:r>
            </a:p>
          </p:txBody>
        </p:sp>
        <p:sp>
          <p:nvSpPr>
            <p:cNvPr id="89" name="Isosceles Triangle 88">
              <a:extLst>
                <a:ext uri="{FF2B5EF4-FFF2-40B4-BE49-F238E27FC236}">
                  <a16:creationId xmlns:a16="http://schemas.microsoft.com/office/drawing/2014/main" id="{6EF02ADA-D5B9-4D86-8222-3BFA64CF095D}"/>
                </a:ext>
              </a:extLst>
            </p:cNvPr>
            <p:cNvSpPr/>
            <p:nvPr/>
          </p:nvSpPr>
          <p:spPr bwMode="auto">
            <a:xfrm rot="5400000">
              <a:off x="4524802" y="972789"/>
              <a:ext cx="469803" cy="148779"/>
            </a:xfrm>
            <a:prstGeom prst="triangle">
              <a:avLst/>
            </a:prstGeom>
            <a:solidFill>
              <a:srgbClr val="22807F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D9A0C">
                    <a:lumMod val="75000"/>
                  </a:srgbClr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90" name="Rounded Rectangle 22">
              <a:extLst>
                <a:ext uri="{FF2B5EF4-FFF2-40B4-BE49-F238E27FC236}">
                  <a16:creationId xmlns:a16="http://schemas.microsoft.com/office/drawing/2014/main" id="{C38B2199-74FF-4F99-9ED1-DF74D3F1D373}"/>
                </a:ext>
              </a:extLst>
            </p:cNvPr>
            <p:cNvSpPr/>
            <p:nvPr/>
          </p:nvSpPr>
          <p:spPr bwMode="auto">
            <a:xfrm>
              <a:off x="2933749" y="4700701"/>
              <a:ext cx="1678534" cy="464836"/>
            </a:xfrm>
            <a:prstGeom prst="roundRect">
              <a:avLst/>
            </a:prstGeom>
            <a:solidFill>
              <a:srgbClr val="A18E87"/>
            </a:solidFill>
            <a:ln w="38100" cap="flat" cmpd="sng" algn="ctr">
              <a:solidFill>
                <a:sysClr val="window" lastClr="FFFFFF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ctr" defTabSz="10191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itchFamily="2" charset="0"/>
                  <a:ea typeface="+mn-ea"/>
                  <a:cs typeface="Calibri" panose="020F0502020204030204" pitchFamily="34" charset="0"/>
                </a:rPr>
                <a:t>Implementation Window</a:t>
              </a:r>
            </a:p>
          </p:txBody>
        </p:sp>
        <p:sp>
          <p:nvSpPr>
            <p:cNvPr id="91" name="Isosceles Triangle 90">
              <a:extLst>
                <a:ext uri="{FF2B5EF4-FFF2-40B4-BE49-F238E27FC236}">
                  <a16:creationId xmlns:a16="http://schemas.microsoft.com/office/drawing/2014/main" id="{2EDB82E2-76AC-4CC0-ADF2-C3ECB80554FC}"/>
                </a:ext>
              </a:extLst>
            </p:cNvPr>
            <p:cNvSpPr/>
            <p:nvPr/>
          </p:nvSpPr>
          <p:spPr bwMode="auto">
            <a:xfrm rot="5400000">
              <a:off x="4520214" y="4862988"/>
              <a:ext cx="469803" cy="148779"/>
            </a:xfrm>
            <a:prstGeom prst="triangle">
              <a:avLst/>
            </a:prstGeom>
            <a:solidFill>
              <a:srgbClr val="A18E87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D9A0C">
                    <a:lumMod val="75000"/>
                  </a:srgbClr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sp>
        <p:nvSpPr>
          <p:cNvPr id="92" name="Rounded Rectangle 24">
            <a:extLst>
              <a:ext uri="{FF2B5EF4-FFF2-40B4-BE49-F238E27FC236}">
                <a16:creationId xmlns:a16="http://schemas.microsoft.com/office/drawing/2014/main" id="{7765C7F1-CEEF-4DE8-9919-8A8F4EF9EEA4}"/>
              </a:ext>
            </a:extLst>
          </p:cNvPr>
          <p:cNvSpPr/>
          <p:nvPr/>
        </p:nvSpPr>
        <p:spPr>
          <a:xfrm>
            <a:off x="2056902" y="890628"/>
            <a:ext cx="6934533" cy="58631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b="1" kern="0" dirty="0">
                <a:solidFill>
                  <a:srgbClr val="000000"/>
                </a:solidFill>
                <a:latin typeface="Raleway" pitchFamily="2" charset="0"/>
              </a:rPr>
              <a:t>Credit worthiness for rural India dataset provided </a:t>
            </a:r>
          </a:p>
        </p:txBody>
      </p:sp>
      <p:sp>
        <p:nvSpPr>
          <p:cNvPr id="93" name="Rounded Rectangle 25">
            <a:extLst>
              <a:ext uri="{FF2B5EF4-FFF2-40B4-BE49-F238E27FC236}">
                <a16:creationId xmlns:a16="http://schemas.microsoft.com/office/drawing/2014/main" id="{93E1BF10-2CBA-47EF-B2F7-C141F1D45A39}"/>
              </a:ext>
            </a:extLst>
          </p:cNvPr>
          <p:cNvSpPr/>
          <p:nvPr/>
        </p:nvSpPr>
        <p:spPr>
          <a:xfrm>
            <a:off x="2056902" y="1529216"/>
            <a:ext cx="6934533" cy="53320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Raleway" pitchFamily="2" charset="0"/>
              </a:rPr>
              <a:t>Total Variables = 21; Numerical – 6; Categorical – 15; Id - 1</a:t>
            </a:r>
          </a:p>
        </p:txBody>
      </p:sp>
      <p:sp>
        <p:nvSpPr>
          <p:cNvPr id="94" name="Rounded Rectangle 27">
            <a:extLst>
              <a:ext uri="{FF2B5EF4-FFF2-40B4-BE49-F238E27FC236}">
                <a16:creationId xmlns:a16="http://schemas.microsoft.com/office/drawing/2014/main" id="{A381C06F-C642-4DB6-B584-E312286374AC}"/>
              </a:ext>
            </a:extLst>
          </p:cNvPr>
          <p:cNvSpPr/>
          <p:nvPr/>
        </p:nvSpPr>
        <p:spPr>
          <a:xfrm>
            <a:off x="2056902" y="2117802"/>
            <a:ext cx="6934533" cy="53320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Raleway" pitchFamily="2" charset="0"/>
              </a:rPr>
              <a:t>Loan Amount </a:t>
            </a:r>
          </a:p>
        </p:txBody>
      </p:sp>
      <p:sp>
        <p:nvSpPr>
          <p:cNvPr id="95" name="Rounded Rectangle 28">
            <a:extLst>
              <a:ext uri="{FF2B5EF4-FFF2-40B4-BE49-F238E27FC236}">
                <a16:creationId xmlns:a16="http://schemas.microsoft.com/office/drawing/2014/main" id="{798763E4-F4BB-494B-B943-7A1E3F64F80E}"/>
              </a:ext>
            </a:extLst>
          </p:cNvPr>
          <p:cNvSpPr/>
          <p:nvPr/>
        </p:nvSpPr>
        <p:spPr>
          <a:xfrm>
            <a:off x="2056902" y="2695918"/>
            <a:ext cx="6934533" cy="53320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Raleway" pitchFamily="2" charset="0"/>
              </a:rPr>
              <a:t>Python – Jupyter notebook</a:t>
            </a:r>
          </a:p>
        </p:txBody>
      </p:sp>
      <p:sp>
        <p:nvSpPr>
          <p:cNvPr id="96" name="Rounded Rectangle 29">
            <a:extLst>
              <a:ext uri="{FF2B5EF4-FFF2-40B4-BE49-F238E27FC236}">
                <a16:creationId xmlns:a16="http://schemas.microsoft.com/office/drawing/2014/main" id="{C573F0B0-781C-4280-8E69-4B66D5215EB8}"/>
              </a:ext>
            </a:extLst>
          </p:cNvPr>
          <p:cNvSpPr/>
          <p:nvPr/>
        </p:nvSpPr>
        <p:spPr>
          <a:xfrm>
            <a:off x="2056902" y="3272187"/>
            <a:ext cx="6934533" cy="53320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Raleway" pitchFamily="2" charset="0"/>
              </a:rPr>
              <a:t>A cross sectional dataset of individuals – 40,000 records</a:t>
            </a:r>
          </a:p>
        </p:txBody>
      </p:sp>
      <p:sp>
        <p:nvSpPr>
          <p:cNvPr id="97" name="Rounded Rectangle 30">
            <a:extLst>
              <a:ext uri="{FF2B5EF4-FFF2-40B4-BE49-F238E27FC236}">
                <a16:creationId xmlns:a16="http://schemas.microsoft.com/office/drawing/2014/main" id="{C6EF3422-613B-444C-A9B9-7F1EBCF1B69B}"/>
              </a:ext>
            </a:extLst>
          </p:cNvPr>
          <p:cNvSpPr/>
          <p:nvPr/>
        </p:nvSpPr>
        <p:spPr>
          <a:xfrm>
            <a:off x="2056902" y="3859463"/>
            <a:ext cx="6934533" cy="53320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 indent="-91440"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Raleway" pitchFamily="2" charset="0"/>
              </a:rPr>
              <a:t>Random Forest           </a:t>
            </a:r>
          </a:p>
          <a:p>
            <a:pPr marL="91440" indent="-91440"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Raleway" pitchFamily="2" charset="0"/>
              </a:rPr>
              <a:t>XG Boost </a:t>
            </a:r>
          </a:p>
        </p:txBody>
      </p:sp>
      <p:sp>
        <p:nvSpPr>
          <p:cNvPr id="98" name="Rounded Rectangle 31">
            <a:extLst>
              <a:ext uri="{FF2B5EF4-FFF2-40B4-BE49-F238E27FC236}">
                <a16:creationId xmlns:a16="http://schemas.microsoft.com/office/drawing/2014/main" id="{66EA55A4-41F7-4A57-8006-5B77DABE3DA1}"/>
              </a:ext>
            </a:extLst>
          </p:cNvPr>
          <p:cNvSpPr/>
          <p:nvPr/>
        </p:nvSpPr>
        <p:spPr>
          <a:xfrm>
            <a:off x="2056902" y="4436750"/>
            <a:ext cx="6934533" cy="53320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Raleway" pitchFamily="2" charset="0"/>
              </a:rPr>
              <a:t>Not applicable</a:t>
            </a:r>
          </a:p>
        </p:txBody>
      </p:sp>
    </p:spTree>
    <p:extLst>
      <p:ext uri="{BB962C8B-B14F-4D97-AF65-F5344CB8AC3E}">
        <p14:creationId xmlns:p14="http://schemas.microsoft.com/office/powerpoint/2010/main" val="4134348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467519-EC5F-4820-A505-DFE17C41AD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622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467519-EC5F-4820-A505-DFE17C41AD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" name="Google Shape;197;p40"/>
          <p:cNvSpPr/>
          <p:nvPr/>
        </p:nvSpPr>
        <p:spPr>
          <a:xfrm>
            <a:off x="0" y="1080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Drivers for identification of credit worthiness</a:t>
            </a:r>
            <a:endParaRPr dirty="0"/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FB06F7CF-1727-4350-92AE-2A4983CBE252}"/>
              </a:ext>
            </a:extLst>
          </p:cNvPr>
          <p:cNvSpPr/>
          <p:nvPr/>
        </p:nvSpPr>
        <p:spPr>
          <a:xfrm rot="16200000">
            <a:off x="4155238" y="2119664"/>
            <a:ext cx="252339" cy="33349"/>
          </a:xfrm>
          <a:custGeom>
            <a:avLst/>
            <a:gdLst>
              <a:gd name="connsiteX0" fmla="*/ 0 w 400627"/>
              <a:gd name="connsiteY0" fmla="*/ 24373 h 48747"/>
              <a:gd name="connsiteX1" fmla="*/ 400627 w 400627"/>
              <a:gd name="connsiteY1" fmla="*/ 24373 h 48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0627" h="48747">
                <a:moveTo>
                  <a:pt x="0" y="24373"/>
                </a:moveTo>
                <a:lnTo>
                  <a:pt x="400627" y="24373"/>
                </a:lnTo>
              </a:path>
            </a:pathLst>
          </a:custGeom>
          <a:noFill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3">
              <a:tint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marL="0" lv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700" kern="1200" dirty="0"/>
          </a:p>
        </p:txBody>
      </p:sp>
      <p:sp>
        <p:nvSpPr>
          <p:cNvPr id="9" name="Freeform 10">
            <a:extLst>
              <a:ext uri="{FF2B5EF4-FFF2-40B4-BE49-F238E27FC236}">
                <a16:creationId xmlns:a16="http://schemas.microsoft.com/office/drawing/2014/main" id="{22219454-C7AF-4DDA-8BD1-00F4044EBFF5}"/>
              </a:ext>
            </a:extLst>
          </p:cNvPr>
          <p:cNvSpPr/>
          <p:nvPr/>
        </p:nvSpPr>
        <p:spPr>
          <a:xfrm>
            <a:off x="4864130" y="2853153"/>
            <a:ext cx="274078" cy="30704"/>
          </a:xfrm>
          <a:custGeom>
            <a:avLst/>
            <a:gdLst>
              <a:gd name="connsiteX0" fmla="*/ 0 w 400627"/>
              <a:gd name="connsiteY0" fmla="*/ 24373 h 48747"/>
              <a:gd name="connsiteX1" fmla="*/ 400627 w 400627"/>
              <a:gd name="connsiteY1" fmla="*/ 24373 h 48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0627" h="48747">
                <a:moveTo>
                  <a:pt x="0" y="24373"/>
                </a:moveTo>
                <a:lnTo>
                  <a:pt x="400627" y="24373"/>
                </a:lnTo>
              </a:path>
            </a:pathLst>
          </a:custGeom>
          <a:noFill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3">
              <a:tint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marL="0" lv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700" kern="1200" dirty="0"/>
          </a:p>
        </p:txBody>
      </p:sp>
      <p:sp>
        <p:nvSpPr>
          <p:cNvPr id="10" name="Freeform 12">
            <a:extLst>
              <a:ext uri="{FF2B5EF4-FFF2-40B4-BE49-F238E27FC236}">
                <a16:creationId xmlns:a16="http://schemas.microsoft.com/office/drawing/2014/main" id="{D60B8B87-1792-4A66-8262-561D0818846D}"/>
              </a:ext>
            </a:extLst>
          </p:cNvPr>
          <p:cNvSpPr/>
          <p:nvPr/>
        </p:nvSpPr>
        <p:spPr>
          <a:xfrm rot="5400000">
            <a:off x="4155238" y="3478119"/>
            <a:ext cx="252339" cy="33349"/>
          </a:xfrm>
          <a:custGeom>
            <a:avLst/>
            <a:gdLst>
              <a:gd name="connsiteX0" fmla="*/ 0 w 400627"/>
              <a:gd name="connsiteY0" fmla="*/ 24373 h 48747"/>
              <a:gd name="connsiteX1" fmla="*/ 400627 w 400627"/>
              <a:gd name="connsiteY1" fmla="*/ 24373 h 48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0627" h="48747">
                <a:moveTo>
                  <a:pt x="0" y="24373"/>
                </a:moveTo>
                <a:lnTo>
                  <a:pt x="400627" y="24373"/>
                </a:lnTo>
              </a:path>
            </a:pathLst>
          </a:custGeom>
          <a:noFill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3">
              <a:tint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marL="0" lv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700" kern="1200" dirty="0"/>
          </a:p>
        </p:txBody>
      </p:sp>
      <p:sp>
        <p:nvSpPr>
          <p:cNvPr id="11" name="Freeform 14">
            <a:extLst>
              <a:ext uri="{FF2B5EF4-FFF2-40B4-BE49-F238E27FC236}">
                <a16:creationId xmlns:a16="http://schemas.microsoft.com/office/drawing/2014/main" id="{4E1662C0-57DD-4316-8DC7-0365ED29D5A9}"/>
              </a:ext>
            </a:extLst>
          </p:cNvPr>
          <p:cNvSpPr/>
          <p:nvPr/>
        </p:nvSpPr>
        <p:spPr>
          <a:xfrm>
            <a:off x="3422053" y="2834792"/>
            <a:ext cx="274079" cy="30704"/>
          </a:xfrm>
          <a:custGeom>
            <a:avLst/>
            <a:gdLst>
              <a:gd name="connsiteX0" fmla="*/ 0 w 400627"/>
              <a:gd name="connsiteY0" fmla="*/ 24373 h 48747"/>
              <a:gd name="connsiteX1" fmla="*/ 400627 w 400627"/>
              <a:gd name="connsiteY1" fmla="*/ 24373 h 48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0627" h="48747">
                <a:moveTo>
                  <a:pt x="400627" y="24374"/>
                </a:moveTo>
                <a:lnTo>
                  <a:pt x="0" y="24374"/>
                </a:lnTo>
              </a:path>
            </a:pathLst>
          </a:custGeom>
          <a:noFill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3">
              <a:tint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marL="0" lv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700" kern="1200" dirty="0"/>
          </a:p>
        </p:txBody>
      </p:sp>
      <p:sp>
        <p:nvSpPr>
          <p:cNvPr id="12" name="Freeform 67">
            <a:extLst>
              <a:ext uri="{FF2B5EF4-FFF2-40B4-BE49-F238E27FC236}">
                <a16:creationId xmlns:a16="http://schemas.microsoft.com/office/drawing/2014/main" id="{9381F392-E6EE-4ECB-AB68-6B6C1CE58014}"/>
              </a:ext>
            </a:extLst>
          </p:cNvPr>
          <p:cNvSpPr/>
          <p:nvPr/>
        </p:nvSpPr>
        <p:spPr>
          <a:xfrm rot="8277951">
            <a:off x="2538701" y="3187729"/>
            <a:ext cx="283735" cy="3786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30058"/>
                </a:moveTo>
                <a:lnTo>
                  <a:pt x="414742" y="30058"/>
                </a:lnTo>
              </a:path>
            </a:pathLst>
          </a:custGeom>
          <a:noFill/>
        </p:spPr>
        <p:style>
          <a:lnRef idx="2">
            <a:schemeClr val="accent5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5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3" name="Freeform 68">
            <a:extLst>
              <a:ext uri="{FF2B5EF4-FFF2-40B4-BE49-F238E27FC236}">
                <a16:creationId xmlns:a16="http://schemas.microsoft.com/office/drawing/2014/main" id="{4E65C6FB-A9E0-4323-ACF8-A621281CD8D3}"/>
              </a:ext>
            </a:extLst>
          </p:cNvPr>
          <p:cNvSpPr/>
          <p:nvPr/>
        </p:nvSpPr>
        <p:spPr>
          <a:xfrm rot="10800000">
            <a:off x="2467911" y="2832611"/>
            <a:ext cx="318030" cy="3786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30058"/>
                </a:moveTo>
                <a:lnTo>
                  <a:pt x="464871" y="30058"/>
                </a:lnTo>
              </a:path>
            </a:pathLst>
          </a:custGeom>
          <a:noFill/>
        </p:spPr>
        <p:style>
          <a:lnRef idx="2">
            <a:schemeClr val="accent5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5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4" name="Freeform 69">
            <a:extLst>
              <a:ext uri="{FF2B5EF4-FFF2-40B4-BE49-F238E27FC236}">
                <a16:creationId xmlns:a16="http://schemas.microsoft.com/office/drawing/2014/main" id="{590DFBE9-5EB6-493C-9125-4F62BA8A13A3}"/>
              </a:ext>
            </a:extLst>
          </p:cNvPr>
          <p:cNvSpPr/>
          <p:nvPr/>
        </p:nvSpPr>
        <p:spPr>
          <a:xfrm rot="13322049">
            <a:off x="2538701" y="2477494"/>
            <a:ext cx="283735" cy="3786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30058"/>
                </a:moveTo>
                <a:lnTo>
                  <a:pt x="414742" y="30058"/>
                </a:lnTo>
              </a:path>
            </a:pathLst>
          </a:custGeom>
          <a:noFill/>
        </p:spPr>
        <p:style>
          <a:lnRef idx="2">
            <a:schemeClr val="accent5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5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5" name="Freeform 71">
            <a:extLst>
              <a:ext uri="{FF2B5EF4-FFF2-40B4-BE49-F238E27FC236}">
                <a16:creationId xmlns:a16="http://schemas.microsoft.com/office/drawing/2014/main" id="{EC7CAEEE-10E3-4EB4-AE07-257C8E573B8E}"/>
              </a:ext>
            </a:extLst>
          </p:cNvPr>
          <p:cNvSpPr/>
          <p:nvPr/>
        </p:nvSpPr>
        <p:spPr>
          <a:xfrm>
            <a:off x="2322043" y="2154843"/>
            <a:ext cx="324264" cy="314287"/>
          </a:xfrm>
          <a:custGeom>
            <a:avLst/>
            <a:gdLst>
              <a:gd name="connsiteX0" fmla="*/ 0 w 808099"/>
              <a:gd name="connsiteY0" fmla="*/ 404050 h 808099"/>
              <a:gd name="connsiteX1" fmla="*/ 404050 w 808099"/>
              <a:gd name="connsiteY1" fmla="*/ 0 h 808099"/>
              <a:gd name="connsiteX2" fmla="*/ 808100 w 808099"/>
              <a:gd name="connsiteY2" fmla="*/ 404050 h 808099"/>
              <a:gd name="connsiteX3" fmla="*/ 404050 w 808099"/>
              <a:gd name="connsiteY3" fmla="*/ 808100 h 808099"/>
              <a:gd name="connsiteX4" fmla="*/ 0 w 808099"/>
              <a:gd name="connsiteY4" fmla="*/ 404050 h 808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8099" h="808099">
                <a:moveTo>
                  <a:pt x="0" y="404050"/>
                </a:moveTo>
                <a:cubicBezTo>
                  <a:pt x="0" y="180899"/>
                  <a:pt x="180899" y="0"/>
                  <a:pt x="404050" y="0"/>
                </a:cubicBezTo>
                <a:cubicBezTo>
                  <a:pt x="627201" y="0"/>
                  <a:pt x="808100" y="180899"/>
                  <a:pt x="808100" y="404050"/>
                </a:cubicBezTo>
                <a:cubicBezTo>
                  <a:pt x="808100" y="627201"/>
                  <a:pt x="627201" y="808100"/>
                  <a:pt x="404050" y="808100"/>
                </a:cubicBezTo>
                <a:cubicBezTo>
                  <a:pt x="180899" y="808100"/>
                  <a:pt x="0" y="627201"/>
                  <a:pt x="0" y="404050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-240884"/>
              <a:satOff val="0"/>
              <a:lumOff val="11292"/>
              <a:alphaOff val="0"/>
            </a:schemeClr>
          </a:fillRef>
          <a:effectRef idx="0">
            <a:schemeClr val="accent5">
              <a:shade val="80000"/>
              <a:hueOff val="-240884"/>
              <a:satOff val="0"/>
              <a:lumOff val="11292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8503" tIns="128503" rIns="128503" bIns="128503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16" name="Freeform 72">
            <a:extLst>
              <a:ext uri="{FF2B5EF4-FFF2-40B4-BE49-F238E27FC236}">
                <a16:creationId xmlns:a16="http://schemas.microsoft.com/office/drawing/2014/main" id="{AEB81025-F1DE-4751-AC1D-7369BB49B265}"/>
              </a:ext>
            </a:extLst>
          </p:cNvPr>
          <p:cNvSpPr/>
          <p:nvPr/>
        </p:nvSpPr>
        <p:spPr>
          <a:xfrm>
            <a:off x="2105307" y="2703268"/>
            <a:ext cx="324264" cy="308888"/>
          </a:xfrm>
          <a:custGeom>
            <a:avLst/>
            <a:gdLst>
              <a:gd name="connsiteX0" fmla="*/ 0 w 808099"/>
              <a:gd name="connsiteY0" fmla="*/ 404050 h 808099"/>
              <a:gd name="connsiteX1" fmla="*/ 404050 w 808099"/>
              <a:gd name="connsiteY1" fmla="*/ 0 h 808099"/>
              <a:gd name="connsiteX2" fmla="*/ 808100 w 808099"/>
              <a:gd name="connsiteY2" fmla="*/ 404050 h 808099"/>
              <a:gd name="connsiteX3" fmla="*/ 404050 w 808099"/>
              <a:gd name="connsiteY3" fmla="*/ 808100 h 808099"/>
              <a:gd name="connsiteX4" fmla="*/ 0 w 808099"/>
              <a:gd name="connsiteY4" fmla="*/ 404050 h 808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8099" h="808099">
                <a:moveTo>
                  <a:pt x="0" y="404050"/>
                </a:moveTo>
                <a:cubicBezTo>
                  <a:pt x="0" y="180899"/>
                  <a:pt x="180899" y="0"/>
                  <a:pt x="404050" y="0"/>
                </a:cubicBezTo>
                <a:cubicBezTo>
                  <a:pt x="627201" y="0"/>
                  <a:pt x="808100" y="180899"/>
                  <a:pt x="808100" y="404050"/>
                </a:cubicBezTo>
                <a:cubicBezTo>
                  <a:pt x="808100" y="627201"/>
                  <a:pt x="627201" y="808100"/>
                  <a:pt x="404050" y="808100"/>
                </a:cubicBezTo>
                <a:cubicBezTo>
                  <a:pt x="180899" y="808100"/>
                  <a:pt x="0" y="627201"/>
                  <a:pt x="0" y="404050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-481769"/>
              <a:satOff val="0"/>
              <a:lumOff val="22583"/>
              <a:alphaOff val="0"/>
            </a:schemeClr>
          </a:fillRef>
          <a:effectRef idx="0">
            <a:schemeClr val="accent5">
              <a:shade val="80000"/>
              <a:hueOff val="-481769"/>
              <a:satOff val="0"/>
              <a:lumOff val="2258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8503" tIns="128503" rIns="128503" bIns="128503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18" name="Freeform 24">
            <a:extLst>
              <a:ext uri="{FF2B5EF4-FFF2-40B4-BE49-F238E27FC236}">
                <a16:creationId xmlns:a16="http://schemas.microsoft.com/office/drawing/2014/main" id="{E303537B-CC14-49C1-B518-BD87953C70C9}"/>
              </a:ext>
            </a:extLst>
          </p:cNvPr>
          <p:cNvSpPr/>
          <p:nvPr/>
        </p:nvSpPr>
        <p:spPr>
          <a:xfrm rot="13638290" flipH="1">
            <a:off x="4539040" y="4287937"/>
            <a:ext cx="263260" cy="4040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17964" y="29531"/>
                </a:lnTo>
              </a:path>
            </a:pathLst>
          </a:custGeom>
          <a:noFill/>
        </p:spPr>
        <p:style>
          <a:lnRef idx="2">
            <a:schemeClr val="accent4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4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9" name="Freeform 25">
            <a:extLst>
              <a:ext uri="{FF2B5EF4-FFF2-40B4-BE49-F238E27FC236}">
                <a16:creationId xmlns:a16="http://schemas.microsoft.com/office/drawing/2014/main" id="{B0E7266D-03F8-4965-8940-7B27F3F37E81}"/>
              </a:ext>
            </a:extLst>
          </p:cNvPr>
          <p:cNvSpPr/>
          <p:nvPr/>
        </p:nvSpPr>
        <p:spPr>
          <a:xfrm rot="16200000" flipH="1">
            <a:off x="4135108" y="4337493"/>
            <a:ext cx="292599" cy="4040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64544" y="29531"/>
                </a:lnTo>
              </a:path>
            </a:pathLst>
          </a:custGeom>
          <a:noFill/>
        </p:spPr>
        <p:style>
          <a:lnRef idx="2">
            <a:schemeClr val="accent4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4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0" name="Freeform 26">
            <a:extLst>
              <a:ext uri="{FF2B5EF4-FFF2-40B4-BE49-F238E27FC236}">
                <a16:creationId xmlns:a16="http://schemas.microsoft.com/office/drawing/2014/main" id="{414AEFF0-93A3-439D-8950-9ACC585D6A30}"/>
              </a:ext>
            </a:extLst>
          </p:cNvPr>
          <p:cNvSpPr/>
          <p:nvPr/>
        </p:nvSpPr>
        <p:spPr>
          <a:xfrm rot="18761710" flipH="1">
            <a:off x="3760516" y="4287937"/>
            <a:ext cx="263260" cy="4040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17964" y="29531"/>
                </a:lnTo>
              </a:path>
            </a:pathLst>
          </a:custGeom>
          <a:noFill/>
        </p:spPr>
        <p:style>
          <a:lnRef idx="2">
            <a:schemeClr val="accent4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4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1" name="Freeform 28">
            <a:extLst>
              <a:ext uri="{FF2B5EF4-FFF2-40B4-BE49-F238E27FC236}">
                <a16:creationId xmlns:a16="http://schemas.microsoft.com/office/drawing/2014/main" id="{7A0C1D8C-9D31-4912-9706-3F83E7128903}"/>
              </a:ext>
            </a:extLst>
          </p:cNvPr>
          <p:cNvSpPr/>
          <p:nvPr/>
        </p:nvSpPr>
        <p:spPr>
          <a:xfrm rot="16200000" flipH="1">
            <a:off x="3502898" y="4375929"/>
            <a:ext cx="338555" cy="357026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shade val="80000"/>
              <a:hueOff val="268577"/>
              <a:satOff val="-11639"/>
              <a:lumOff val="11790"/>
              <a:alphaOff val="0"/>
            </a:schemeClr>
          </a:fillRef>
          <a:effectRef idx="0">
            <a:schemeClr val="accent4">
              <a:shade val="80000"/>
              <a:hueOff val="268577"/>
              <a:satOff val="-11639"/>
              <a:lumOff val="1179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22" name="Freeform 29">
            <a:extLst>
              <a:ext uri="{FF2B5EF4-FFF2-40B4-BE49-F238E27FC236}">
                <a16:creationId xmlns:a16="http://schemas.microsoft.com/office/drawing/2014/main" id="{1F56AFC1-4044-4DEF-A63D-B73320A156B9}"/>
              </a:ext>
            </a:extLst>
          </p:cNvPr>
          <p:cNvSpPr/>
          <p:nvPr/>
        </p:nvSpPr>
        <p:spPr>
          <a:xfrm rot="16200000" flipH="1">
            <a:off x="4129103" y="4476535"/>
            <a:ext cx="304611" cy="359532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shade val="80000"/>
              <a:hueOff val="537155"/>
              <a:satOff val="-23278"/>
              <a:lumOff val="23579"/>
              <a:alphaOff val="0"/>
            </a:schemeClr>
          </a:fillRef>
          <a:effectRef idx="0">
            <a:schemeClr val="accent4">
              <a:shade val="80000"/>
              <a:hueOff val="537155"/>
              <a:satOff val="-23278"/>
              <a:lumOff val="23579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23" name="Freeform 30">
            <a:extLst>
              <a:ext uri="{FF2B5EF4-FFF2-40B4-BE49-F238E27FC236}">
                <a16:creationId xmlns:a16="http://schemas.microsoft.com/office/drawing/2014/main" id="{C12299AB-D0A6-4B19-A8AE-CD3BB38F3F2A}"/>
              </a:ext>
            </a:extLst>
          </p:cNvPr>
          <p:cNvSpPr/>
          <p:nvPr/>
        </p:nvSpPr>
        <p:spPr>
          <a:xfrm rot="16200000" flipH="1">
            <a:off x="4706673" y="4312147"/>
            <a:ext cx="306584" cy="359532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shade val="80000"/>
              <a:hueOff val="805732"/>
              <a:satOff val="-34917"/>
              <a:lumOff val="35369"/>
              <a:alphaOff val="0"/>
            </a:schemeClr>
          </a:fillRef>
          <a:effectRef idx="0">
            <a:schemeClr val="accent4">
              <a:shade val="80000"/>
              <a:hueOff val="805732"/>
              <a:satOff val="-34917"/>
              <a:lumOff val="35369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24" name="Freeform 42">
            <a:extLst>
              <a:ext uri="{FF2B5EF4-FFF2-40B4-BE49-F238E27FC236}">
                <a16:creationId xmlns:a16="http://schemas.microsoft.com/office/drawing/2014/main" id="{E5B12D05-8AF5-4122-BEE7-7F2AF3F0C365}"/>
              </a:ext>
            </a:extLst>
          </p:cNvPr>
          <p:cNvSpPr/>
          <p:nvPr/>
        </p:nvSpPr>
        <p:spPr>
          <a:xfrm rot="2838290" flipH="1">
            <a:off x="3756823" y="1330384"/>
            <a:ext cx="263260" cy="4040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17964" y="29531"/>
                </a:lnTo>
              </a:path>
            </a:pathLst>
          </a:custGeom>
          <a:noFill/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5" name="Freeform 43">
            <a:extLst>
              <a:ext uri="{FF2B5EF4-FFF2-40B4-BE49-F238E27FC236}">
                <a16:creationId xmlns:a16="http://schemas.microsoft.com/office/drawing/2014/main" id="{D7A17795-C86A-438D-B8B5-30C785A244C4}"/>
              </a:ext>
            </a:extLst>
          </p:cNvPr>
          <p:cNvSpPr/>
          <p:nvPr/>
        </p:nvSpPr>
        <p:spPr>
          <a:xfrm rot="5400000" flipH="1">
            <a:off x="4131416" y="1280828"/>
            <a:ext cx="292599" cy="4040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64544" y="29531"/>
                </a:lnTo>
              </a:path>
            </a:pathLst>
          </a:custGeom>
          <a:noFill/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6" name="Freeform 44">
            <a:extLst>
              <a:ext uri="{FF2B5EF4-FFF2-40B4-BE49-F238E27FC236}">
                <a16:creationId xmlns:a16="http://schemas.microsoft.com/office/drawing/2014/main" id="{55BD5B40-027D-49A0-A53B-E3D763BE6EA8}"/>
              </a:ext>
            </a:extLst>
          </p:cNvPr>
          <p:cNvSpPr/>
          <p:nvPr/>
        </p:nvSpPr>
        <p:spPr>
          <a:xfrm rot="7961710" flipH="1">
            <a:off x="4535348" y="1330384"/>
            <a:ext cx="263260" cy="4040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17964" y="29531"/>
                </a:lnTo>
              </a:path>
            </a:pathLst>
          </a:custGeom>
          <a:noFill/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7" name="Freeform 46">
            <a:extLst>
              <a:ext uri="{FF2B5EF4-FFF2-40B4-BE49-F238E27FC236}">
                <a16:creationId xmlns:a16="http://schemas.microsoft.com/office/drawing/2014/main" id="{4075634C-8B3C-4652-9B29-361AA14F980E}"/>
              </a:ext>
            </a:extLst>
          </p:cNvPr>
          <p:cNvSpPr/>
          <p:nvPr/>
        </p:nvSpPr>
        <p:spPr>
          <a:xfrm rot="5400000" flipH="1">
            <a:off x="4724511" y="926771"/>
            <a:ext cx="327628" cy="351418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shade val="80000"/>
              <a:hueOff val="254083"/>
              <a:satOff val="-27099"/>
              <a:lumOff val="13688"/>
              <a:alphaOff val="0"/>
            </a:schemeClr>
          </a:fillRef>
          <a:effectRef idx="0">
            <a:schemeClr val="accent2">
              <a:shade val="80000"/>
              <a:hueOff val="254083"/>
              <a:satOff val="-27099"/>
              <a:lumOff val="1368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30" name="Freeform 56">
            <a:extLst>
              <a:ext uri="{FF2B5EF4-FFF2-40B4-BE49-F238E27FC236}">
                <a16:creationId xmlns:a16="http://schemas.microsoft.com/office/drawing/2014/main" id="{FFC98DAF-B6BD-41BF-A391-DD82AE8595B5}"/>
              </a:ext>
            </a:extLst>
          </p:cNvPr>
          <p:cNvSpPr/>
          <p:nvPr/>
        </p:nvSpPr>
        <p:spPr>
          <a:xfrm rot="19038290" flipV="1">
            <a:off x="5737116" y="2487128"/>
            <a:ext cx="285939" cy="3720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17964" y="29531"/>
                </a:lnTo>
              </a:path>
            </a:pathLst>
          </a:custGeom>
          <a:noFill/>
        </p:spPr>
        <p:style>
          <a:lnRef idx="2">
            <a:schemeClr val="accent3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3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31" name="Freeform 57">
            <a:extLst>
              <a:ext uri="{FF2B5EF4-FFF2-40B4-BE49-F238E27FC236}">
                <a16:creationId xmlns:a16="http://schemas.microsoft.com/office/drawing/2014/main" id="{4630211A-2991-41A6-9E02-7E8ED0FDF0BF}"/>
              </a:ext>
            </a:extLst>
          </p:cNvPr>
          <p:cNvSpPr/>
          <p:nvPr/>
        </p:nvSpPr>
        <p:spPr>
          <a:xfrm flipV="1">
            <a:off x="5775008" y="2845516"/>
            <a:ext cx="317806" cy="3720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64544" y="29531"/>
                </a:lnTo>
              </a:path>
            </a:pathLst>
          </a:custGeom>
          <a:noFill/>
        </p:spPr>
        <p:style>
          <a:lnRef idx="2">
            <a:schemeClr val="accent3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3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32" name="Freeform 58">
            <a:extLst>
              <a:ext uri="{FF2B5EF4-FFF2-40B4-BE49-F238E27FC236}">
                <a16:creationId xmlns:a16="http://schemas.microsoft.com/office/drawing/2014/main" id="{3BB7B002-5D51-493C-9412-BE8312BBC569}"/>
              </a:ext>
            </a:extLst>
          </p:cNvPr>
          <p:cNvSpPr/>
          <p:nvPr/>
        </p:nvSpPr>
        <p:spPr>
          <a:xfrm rot="2561710" flipV="1">
            <a:off x="5737116" y="3203904"/>
            <a:ext cx="285939" cy="3720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17964" y="29531"/>
                </a:lnTo>
              </a:path>
            </a:pathLst>
          </a:custGeom>
          <a:noFill/>
        </p:spPr>
        <p:style>
          <a:lnRef idx="2">
            <a:schemeClr val="accent3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3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33" name="Freeform 60">
            <a:extLst>
              <a:ext uri="{FF2B5EF4-FFF2-40B4-BE49-F238E27FC236}">
                <a16:creationId xmlns:a16="http://schemas.microsoft.com/office/drawing/2014/main" id="{2DA835EA-E9B2-4ADF-896D-053C68055846}"/>
              </a:ext>
            </a:extLst>
          </p:cNvPr>
          <p:cNvSpPr/>
          <p:nvPr/>
        </p:nvSpPr>
        <p:spPr>
          <a:xfrm flipV="1">
            <a:off x="5933911" y="3287093"/>
            <a:ext cx="367038" cy="338553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shade val="80000"/>
              <a:hueOff val="-210524"/>
              <a:satOff val="-25424"/>
              <a:lumOff val="13492"/>
              <a:alphaOff val="0"/>
            </a:schemeClr>
          </a:fillRef>
          <a:effectRef idx="0">
            <a:schemeClr val="accent3">
              <a:shade val="80000"/>
              <a:hueOff val="-210524"/>
              <a:satOff val="-25424"/>
              <a:lumOff val="13492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34" name="Freeform 61">
            <a:extLst>
              <a:ext uri="{FF2B5EF4-FFF2-40B4-BE49-F238E27FC236}">
                <a16:creationId xmlns:a16="http://schemas.microsoft.com/office/drawing/2014/main" id="{5810855F-BDFD-4F6F-AF1F-79BEFE392262}"/>
              </a:ext>
            </a:extLst>
          </p:cNvPr>
          <p:cNvSpPr/>
          <p:nvPr/>
        </p:nvSpPr>
        <p:spPr>
          <a:xfrm flipV="1">
            <a:off x="6087176" y="2643304"/>
            <a:ext cx="367756" cy="338554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shade val="80000"/>
              <a:hueOff val="-421047"/>
              <a:satOff val="-50847"/>
              <a:lumOff val="26983"/>
              <a:alphaOff val="0"/>
            </a:schemeClr>
          </a:fillRef>
          <a:effectRef idx="0">
            <a:schemeClr val="accent3">
              <a:shade val="80000"/>
              <a:hueOff val="-421047"/>
              <a:satOff val="-50847"/>
              <a:lumOff val="2698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35" name="Freeform 62">
            <a:extLst>
              <a:ext uri="{FF2B5EF4-FFF2-40B4-BE49-F238E27FC236}">
                <a16:creationId xmlns:a16="http://schemas.microsoft.com/office/drawing/2014/main" id="{FD5B685D-391E-4040-9C1C-044A9A878BEE}"/>
              </a:ext>
            </a:extLst>
          </p:cNvPr>
          <p:cNvSpPr/>
          <p:nvPr/>
        </p:nvSpPr>
        <p:spPr>
          <a:xfrm flipV="1">
            <a:off x="5933911" y="2107290"/>
            <a:ext cx="351419" cy="332515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shade val="80000"/>
              <a:hueOff val="-631571"/>
              <a:satOff val="-76271"/>
              <a:lumOff val="40475"/>
              <a:alphaOff val="0"/>
            </a:schemeClr>
          </a:fillRef>
          <a:effectRef idx="0">
            <a:schemeClr val="accent3">
              <a:shade val="80000"/>
              <a:hueOff val="-631571"/>
              <a:satOff val="-76271"/>
              <a:lumOff val="40475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08B7860-EDB2-46B3-A9DE-C896B5144F59}"/>
              </a:ext>
            </a:extLst>
          </p:cNvPr>
          <p:cNvSpPr txBox="1"/>
          <p:nvPr/>
        </p:nvSpPr>
        <p:spPr>
          <a:xfrm>
            <a:off x="6265002" y="3356756"/>
            <a:ext cx="711734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No. of </a:t>
            </a:r>
          </a:p>
          <a:p>
            <a:pPr algn="ctr"/>
            <a:r>
              <a:rPr lang="en-US" sz="1100" b="1" dirty="0">
                <a:latin typeface="Raleway"/>
              </a:rPr>
              <a:t>occupant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B837DD3-4641-4C35-99F2-791176CC78E4}"/>
              </a:ext>
            </a:extLst>
          </p:cNvPr>
          <p:cNvSpPr txBox="1"/>
          <p:nvPr/>
        </p:nvSpPr>
        <p:spPr>
          <a:xfrm>
            <a:off x="6502479" y="2582427"/>
            <a:ext cx="1247239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Type of house, sanitary and water availability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D732A02-F3BB-4864-BAA5-A8551ADCFA62}"/>
              </a:ext>
            </a:extLst>
          </p:cNvPr>
          <p:cNvSpPr txBox="1"/>
          <p:nvPr/>
        </p:nvSpPr>
        <p:spPr>
          <a:xfrm>
            <a:off x="6199851" y="1946647"/>
            <a:ext cx="1181414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Home ownership </a:t>
            </a:r>
          </a:p>
          <a:p>
            <a:pPr algn="ctr"/>
            <a:r>
              <a:rPr lang="en-US" sz="1100" b="1" dirty="0">
                <a:latin typeface="Raleway"/>
              </a:rPr>
              <a:t>And are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51671F4-21B8-40FE-9DC6-78609FA6D335}"/>
              </a:ext>
            </a:extLst>
          </p:cNvPr>
          <p:cNvSpPr txBox="1"/>
          <p:nvPr/>
        </p:nvSpPr>
        <p:spPr>
          <a:xfrm>
            <a:off x="4163265" y="618088"/>
            <a:ext cx="269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A803D8D-DA03-4076-931E-735576368469}"/>
              </a:ext>
            </a:extLst>
          </p:cNvPr>
          <p:cNvSpPr txBox="1"/>
          <p:nvPr/>
        </p:nvSpPr>
        <p:spPr>
          <a:xfrm>
            <a:off x="5047974" y="801582"/>
            <a:ext cx="841577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Sex and</a:t>
            </a:r>
          </a:p>
          <a:p>
            <a:pPr algn="ctr"/>
            <a:r>
              <a:rPr lang="en-US" sz="1100" b="1" dirty="0">
                <a:latin typeface="Raleway"/>
              </a:rPr>
              <a:t> Social Clas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02EB72C-A5D2-41F3-AD0B-552341136547}"/>
              </a:ext>
            </a:extLst>
          </p:cNvPr>
          <p:cNvSpPr txBox="1"/>
          <p:nvPr/>
        </p:nvSpPr>
        <p:spPr>
          <a:xfrm>
            <a:off x="3132956" y="861867"/>
            <a:ext cx="6838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City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95A0269-A848-47EC-9D99-3A5930D0727C}"/>
              </a:ext>
            </a:extLst>
          </p:cNvPr>
          <p:cNvSpPr txBox="1"/>
          <p:nvPr/>
        </p:nvSpPr>
        <p:spPr>
          <a:xfrm>
            <a:off x="1387156" y="3282552"/>
            <a:ext cx="89287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Family</a:t>
            </a:r>
            <a:r>
              <a:rPr lang="en-US" sz="1100" dirty="0">
                <a:latin typeface="Raleway"/>
              </a:rPr>
              <a:t> </a:t>
            </a:r>
          </a:p>
          <a:p>
            <a:pPr algn="ctr"/>
            <a:r>
              <a:rPr lang="en-US" sz="1100" b="1" dirty="0">
                <a:latin typeface="Raleway"/>
              </a:rPr>
              <a:t>dependent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A50605A-BC5F-4BD6-A0C7-99B489C68C72}"/>
              </a:ext>
            </a:extLst>
          </p:cNvPr>
          <p:cNvSpPr txBox="1"/>
          <p:nvPr/>
        </p:nvSpPr>
        <p:spPr>
          <a:xfrm>
            <a:off x="1285371" y="2723026"/>
            <a:ext cx="831959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Income and </a:t>
            </a:r>
          </a:p>
          <a:p>
            <a:pPr algn="ctr"/>
            <a:r>
              <a:rPr lang="en-US" sz="1100" b="1" dirty="0">
                <a:latin typeface="Raleway"/>
              </a:rPr>
              <a:t>Expens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E60F117-4222-4353-9769-AC236F18884E}"/>
              </a:ext>
            </a:extLst>
          </p:cNvPr>
          <p:cNvSpPr txBox="1"/>
          <p:nvPr/>
        </p:nvSpPr>
        <p:spPr>
          <a:xfrm>
            <a:off x="1449187" y="1994223"/>
            <a:ext cx="974008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Primary and Secondary Business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0BEEBFF-5742-46BB-BB7D-64D566E7EC4D}"/>
              </a:ext>
            </a:extLst>
          </p:cNvPr>
          <p:cNvSpPr txBox="1"/>
          <p:nvPr/>
        </p:nvSpPr>
        <p:spPr>
          <a:xfrm>
            <a:off x="3833773" y="4782002"/>
            <a:ext cx="878446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No. of</a:t>
            </a:r>
          </a:p>
          <a:p>
            <a:pPr algn="ctr"/>
            <a:r>
              <a:rPr lang="en-US" sz="1100" b="1" dirty="0">
                <a:latin typeface="Raleway"/>
              </a:rPr>
              <a:t> Installment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53013D2-2CFA-4081-AC03-59178E7644FC}"/>
              </a:ext>
            </a:extLst>
          </p:cNvPr>
          <p:cNvSpPr txBox="1"/>
          <p:nvPr/>
        </p:nvSpPr>
        <p:spPr>
          <a:xfrm>
            <a:off x="5023470" y="4344048"/>
            <a:ext cx="570670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Loan</a:t>
            </a:r>
          </a:p>
          <a:p>
            <a:pPr algn="ctr"/>
            <a:r>
              <a:rPr lang="en-US" sz="1100" b="1" dirty="0">
                <a:latin typeface="Raleway"/>
              </a:rPr>
              <a:t> Amoun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14AF6EC-3F8E-4024-BD4C-47E491544534}"/>
              </a:ext>
            </a:extLst>
          </p:cNvPr>
          <p:cNvSpPr txBox="1"/>
          <p:nvPr/>
        </p:nvSpPr>
        <p:spPr>
          <a:xfrm>
            <a:off x="2423195" y="4407942"/>
            <a:ext cx="1055749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Loan Purpose </a:t>
            </a:r>
          </a:p>
          <a:p>
            <a:pPr algn="ctr"/>
            <a:r>
              <a:rPr lang="en-US" sz="1100" b="1" dirty="0">
                <a:latin typeface="Raleway"/>
              </a:rPr>
              <a:t>and Tenure</a:t>
            </a:r>
          </a:p>
        </p:txBody>
      </p:sp>
      <p:sp>
        <p:nvSpPr>
          <p:cNvPr id="48" name="Freeform 13">
            <a:extLst>
              <a:ext uri="{FF2B5EF4-FFF2-40B4-BE49-F238E27FC236}">
                <a16:creationId xmlns:a16="http://schemas.microsoft.com/office/drawing/2014/main" id="{152229F1-8A72-48E7-9782-74EDC0A603B7}"/>
              </a:ext>
            </a:extLst>
          </p:cNvPr>
          <p:cNvSpPr/>
          <p:nvPr/>
        </p:nvSpPr>
        <p:spPr>
          <a:xfrm>
            <a:off x="3826760" y="3495140"/>
            <a:ext cx="909297" cy="837175"/>
          </a:xfrm>
          <a:custGeom>
            <a:avLst/>
            <a:gdLst>
              <a:gd name="connsiteX0" fmla="*/ 0 w 1329140"/>
              <a:gd name="connsiteY0" fmla="*/ 664570 h 1329140"/>
              <a:gd name="connsiteX1" fmla="*/ 664570 w 1329140"/>
              <a:gd name="connsiteY1" fmla="*/ 0 h 1329140"/>
              <a:gd name="connsiteX2" fmla="*/ 1329140 w 1329140"/>
              <a:gd name="connsiteY2" fmla="*/ 664570 h 1329140"/>
              <a:gd name="connsiteX3" fmla="*/ 664570 w 1329140"/>
              <a:gd name="connsiteY3" fmla="*/ 1329140 h 1329140"/>
              <a:gd name="connsiteX4" fmla="*/ 0 w 1329140"/>
              <a:gd name="connsiteY4" fmla="*/ 664570 h 132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9140" h="1329140">
                <a:moveTo>
                  <a:pt x="0" y="664570"/>
                </a:moveTo>
                <a:cubicBezTo>
                  <a:pt x="0" y="297538"/>
                  <a:pt x="297538" y="0"/>
                  <a:pt x="664570" y="0"/>
                </a:cubicBezTo>
                <a:cubicBezTo>
                  <a:pt x="1031602" y="0"/>
                  <a:pt x="1329140" y="297538"/>
                  <a:pt x="1329140" y="664570"/>
                </a:cubicBezTo>
                <a:cubicBezTo>
                  <a:pt x="1329140" y="1031602"/>
                  <a:pt x="1031602" y="1329140"/>
                  <a:pt x="664570" y="1329140"/>
                </a:cubicBezTo>
                <a:cubicBezTo>
                  <a:pt x="297538" y="1329140"/>
                  <a:pt x="0" y="1031602"/>
                  <a:pt x="0" y="664570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100" b="1" dirty="0">
                <a:solidFill>
                  <a:schemeClr val="bg1"/>
                </a:solidFill>
                <a:latin typeface="Raleway"/>
                <a:cs typeface="Arial"/>
              </a:rPr>
              <a:t>Loan Details</a:t>
            </a:r>
          </a:p>
        </p:txBody>
      </p:sp>
      <p:sp>
        <p:nvSpPr>
          <p:cNvPr id="49" name="Freeform 15">
            <a:extLst>
              <a:ext uri="{FF2B5EF4-FFF2-40B4-BE49-F238E27FC236}">
                <a16:creationId xmlns:a16="http://schemas.microsoft.com/office/drawing/2014/main" id="{73B0BC0F-BB53-4720-B1A3-EFE9B3C02A2B}"/>
              </a:ext>
            </a:extLst>
          </p:cNvPr>
          <p:cNvSpPr/>
          <p:nvPr/>
        </p:nvSpPr>
        <p:spPr>
          <a:xfrm>
            <a:off x="2649865" y="2384833"/>
            <a:ext cx="909297" cy="883899"/>
          </a:xfrm>
          <a:custGeom>
            <a:avLst/>
            <a:gdLst>
              <a:gd name="connsiteX0" fmla="*/ 0 w 1329140"/>
              <a:gd name="connsiteY0" fmla="*/ 664570 h 1329140"/>
              <a:gd name="connsiteX1" fmla="*/ 664570 w 1329140"/>
              <a:gd name="connsiteY1" fmla="*/ 0 h 1329140"/>
              <a:gd name="connsiteX2" fmla="*/ 1329140 w 1329140"/>
              <a:gd name="connsiteY2" fmla="*/ 664570 h 1329140"/>
              <a:gd name="connsiteX3" fmla="*/ 664570 w 1329140"/>
              <a:gd name="connsiteY3" fmla="*/ 1329140 h 1329140"/>
              <a:gd name="connsiteX4" fmla="*/ 0 w 1329140"/>
              <a:gd name="connsiteY4" fmla="*/ 664570 h 132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9140" h="1329140">
                <a:moveTo>
                  <a:pt x="0" y="664570"/>
                </a:moveTo>
                <a:cubicBezTo>
                  <a:pt x="0" y="297538"/>
                  <a:pt x="297538" y="0"/>
                  <a:pt x="664570" y="0"/>
                </a:cubicBezTo>
                <a:cubicBezTo>
                  <a:pt x="1031602" y="0"/>
                  <a:pt x="1329140" y="297538"/>
                  <a:pt x="1329140" y="664570"/>
                </a:cubicBezTo>
                <a:cubicBezTo>
                  <a:pt x="1329140" y="1031602"/>
                  <a:pt x="1031602" y="1329140"/>
                  <a:pt x="664570" y="1329140"/>
                </a:cubicBezTo>
                <a:cubicBezTo>
                  <a:pt x="297538" y="1329140"/>
                  <a:pt x="0" y="1031602"/>
                  <a:pt x="0" y="664570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algn="ctr" defTabSz="62230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100" b="1" dirty="0">
                <a:solidFill>
                  <a:schemeClr val="bg1"/>
                </a:solidFill>
                <a:latin typeface="Raleway"/>
                <a:cs typeface="Arial"/>
              </a:rPr>
              <a:t>Financial Details</a:t>
            </a:r>
          </a:p>
        </p:txBody>
      </p:sp>
      <p:sp>
        <p:nvSpPr>
          <p:cNvPr id="50" name="Freeform 11">
            <a:extLst>
              <a:ext uri="{FF2B5EF4-FFF2-40B4-BE49-F238E27FC236}">
                <a16:creationId xmlns:a16="http://schemas.microsoft.com/office/drawing/2014/main" id="{66754F69-32EC-47B2-8EA3-63B12CA25458}"/>
              </a:ext>
            </a:extLst>
          </p:cNvPr>
          <p:cNvSpPr/>
          <p:nvPr/>
        </p:nvSpPr>
        <p:spPr>
          <a:xfrm>
            <a:off x="5009669" y="2392517"/>
            <a:ext cx="909297" cy="894576"/>
          </a:xfrm>
          <a:custGeom>
            <a:avLst/>
            <a:gdLst>
              <a:gd name="connsiteX0" fmla="*/ 0 w 1329140"/>
              <a:gd name="connsiteY0" fmla="*/ 664570 h 1329140"/>
              <a:gd name="connsiteX1" fmla="*/ 664570 w 1329140"/>
              <a:gd name="connsiteY1" fmla="*/ 0 h 1329140"/>
              <a:gd name="connsiteX2" fmla="*/ 1329140 w 1329140"/>
              <a:gd name="connsiteY2" fmla="*/ 664570 h 1329140"/>
              <a:gd name="connsiteX3" fmla="*/ 664570 w 1329140"/>
              <a:gd name="connsiteY3" fmla="*/ 1329140 h 1329140"/>
              <a:gd name="connsiteX4" fmla="*/ 0 w 1329140"/>
              <a:gd name="connsiteY4" fmla="*/ 664570 h 132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9140" h="1329140">
                <a:moveTo>
                  <a:pt x="0" y="664570"/>
                </a:moveTo>
                <a:cubicBezTo>
                  <a:pt x="0" y="297538"/>
                  <a:pt x="297538" y="0"/>
                  <a:pt x="664570" y="0"/>
                </a:cubicBezTo>
                <a:cubicBezTo>
                  <a:pt x="1031602" y="0"/>
                  <a:pt x="1329140" y="297538"/>
                  <a:pt x="1329140" y="664570"/>
                </a:cubicBezTo>
                <a:cubicBezTo>
                  <a:pt x="1329140" y="1031602"/>
                  <a:pt x="1031602" y="1329140"/>
                  <a:pt x="664570" y="1329140"/>
                </a:cubicBezTo>
                <a:cubicBezTo>
                  <a:pt x="297538" y="1329140"/>
                  <a:pt x="0" y="1031602"/>
                  <a:pt x="0" y="664570"/>
                </a:cubicBezTo>
                <a:close/>
              </a:path>
            </a:pathLst>
          </a:custGeom>
          <a:solidFill>
            <a:srgbClr val="A18E8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shade val="80000"/>
              <a:hueOff val="-210524"/>
              <a:satOff val="-25424"/>
              <a:lumOff val="13492"/>
              <a:alphaOff val="0"/>
            </a:schemeClr>
          </a:fillRef>
          <a:effectRef idx="0">
            <a:schemeClr val="accent3">
              <a:shade val="80000"/>
              <a:hueOff val="-210524"/>
              <a:satOff val="-25424"/>
              <a:lumOff val="13492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lvl="1" algn="ctr" defTabSz="62230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100" b="1" dirty="0">
                <a:solidFill>
                  <a:schemeClr val="bg1"/>
                </a:solidFill>
                <a:latin typeface="Raleway"/>
                <a:cs typeface="Arial"/>
              </a:rPr>
              <a:t>House Details</a:t>
            </a:r>
          </a:p>
        </p:txBody>
      </p:sp>
      <p:sp>
        <p:nvSpPr>
          <p:cNvPr id="51" name="Freeform 9">
            <a:extLst>
              <a:ext uri="{FF2B5EF4-FFF2-40B4-BE49-F238E27FC236}">
                <a16:creationId xmlns:a16="http://schemas.microsoft.com/office/drawing/2014/main" id="{CF836BA0-270F-410A-AB06-F8DC7CF33B31}"/>
              </a:ext>
            </a:extLst>
          </p:cNvPr>
          <p:cNvSpPr/>
          <p:nvPr/>
        </p:nvSpPr>
        <p:spPr>
          <a:xfrm>
            <a:off x="3826760" y="1321868"/>
            <a:ext cx="909297" cy="837175"/>
          </a:xfrm>
          <a:custGeom>
            <a:avLst/>
            <a:gdLst>
              <a:gd name="connsiteX0" fmla="*/ 0 w 1329140"/>
              <a:gd name="connsiteY0" fmla="*/ 664570 h 1329140"/>
              <a:gd name="connsiteX1" fmla="*/ 664570 w 1329140"/>
              <a:gd name="connsiteY1" fmla="*/ 0 h 1329140"/>
              <a:gd name="connsiteX2" fmla="*/ 1329140 w 1329140"/>
              <a:gd name="connsiteY2" fmla="*/ 664570 h 1329140"/>
              <a:gd name="connsiteX3" fmla="*/ 664570 w 1329140"/>
              <a:gd name="connsiteY3" fmla="*/ 1329140 h 1329140"/>
              <a:gd name="connsiteX4" fmla="*/ 0 w 1329140"/>
              <a:gd name="connsiteY4" fmla="*/ 664570 h 132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9140" h="1329140">
                <a:moveTo>
                  <a:pt x="0" y="664570"/>
                </a:moveTo>
                <a:cubicBezTo>
                  <a:pt x="0" y="297538"/>
                  <a:pt x="297538" y="0"/>
                  <a:pt x="664570" y="0"/>
                </a:cubicBezTo>
                <a:cubicBezTo>
                  <a:pt x="1031602" y="0"/>
                  <a:pt x="1329140" y="297538"/>
                  <a:pt x="1329140" y="664570"/>
                </a:cubicBezTo>
                <a:cubicBezTo>
                  <a:pt x="1329140" y="1031602"/>
                  <a:pt x="1031602" y="1329140"/>
                  <a:pt x="664570" y="1329140"/>
                </a:cubicBezTo>
                <a:cubicBezTo>
                  <a:pt x="297538" y="1329140"/>
                  <a:pt x="0" y="1031602"/>
                  <a:pt x="0" y="664570"/>
                </a:cubicBezTo>
                <a:close/>
              </a:path>
            </a:pathLst>
          </a:custGeom>
          <a:solidFill>
            <a:srgbClr val="00206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lvl="1" algn="ctr" defTabSz="62230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100" b="1" dirty="0">
                <a:solidFill>
                  <a:schemeClr val="bg1"/>
                </a:solidFill>
                <a:latin typeface="Raleway"/>
                <a:cs typeface="Arial"/>
              </a:rPr>
              <a:t>Personal Details</a:t>
            </a:r>
          </a:p>
        </p:txBody>
      </p:sp>
      <p:sp>
        <p:nvSpPr>
          <p:cNvPr id="17" name="Freeform 73">
            <a:extLst>
              <a:ext uri="{FF2B5EF4-FFF2-40B4-BE49-F238E27FC236}">
                <a16:creationId xmlns:a16="http://schemas.microsoft.com/office/drawing/2014/main" id="{9F3CC6CD-7CE6-4DC4-AA21-6F5FD64785B2}"/>
              </a:ext>
            </a:extLst>
          </p:cNvPr>
          <p:cNvSpPr/>
          <p:nvPr/>
        </p:nvSpPr>
        <p:spPr>
          <a:xfrm>
            <a:off x="2238342" y="3233958"/>
            <a:ext cx="345551" cy="308888"/>
          </a:xfrm>
          <a:custGeom>
            <a:avLst/>
            <a:gdLst>
              <a:gd name="connsiteX0" fmla="*/ 0 w 808099"/>
              <a:gd name="connsiteY0" fmla="*/ 404050 h 808099"/>
              <a:gd name="connsiteX1" fmla="*/ 404050 w 808099"/>
              <a:gd name="connsiteY1" fmla="*/ 0 h 808099"/>
              <a:gd name="connsiteX2" fmla="*/ 808100 w 808099"/>
              <a:gd name="connsiteY2" fmla="*/ 404050 h 808099"/>
              <a:gd name="connsiteX3" fmla="*/ 404050 w 808099"/>
              <a:gd name="connsiteY3" fmla="*/ 808100 h 808099"/>
              <a:gd name="connsiteX4" fmla="*/ 0 w 808099"/>
              <a:gd name="connsiteY4" fmla="*/ 404050 h 808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8099" h="808099">
                <a:moveTo>
                  <a:pt x="0" y="404050"/>
                </a:moveTo>
                <a:cubicBezTo>
                  <a:pt x="0" y="180899"/>
                  <a:pt x="180899" y="0"/>
                  <a:pt x="404050" y="0"/>
                </a:cubicBezTo>
                <a:cubicBezTo>
                  <a:pt x="627201" y="0"/>
                  <a:pt x="808100" y="180899"/>
                  <a:pt x="808100" y="404050"/>
                </a:cubicBezTo>
                <a:cubicBezTo>
                  <a:pt x="808100" y="627201"/>
                  <a:pt x="627201" y="808100"/>
                  <a:pt x="404050" y="808100"/>
                </a:cubicBezTo>
                <a:cubicBezTo>
                  <a:pt x="180899" y="808100"/>
                  <a:pt x="0" y="627201"/>
                  <a:pt x="0" y="404050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-722653"/>
              <a:satOff val="0"/>
              <a:lumOff val="33875"/>
              <a:alphaOff val="0"/>
            </a:schemeClr>
          </a:fillRef>
          <a:effectRef idx="0">
            <a:schemeClr val="accent5">
              <a:shade val="80000"/>
              <a:hueOff val="-722653"/>
              <a:satOff val="0"/>
              <a:lumOff val="33875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8503" tIns="128503" rIns="128503" bIns="128503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29" name="Freeform 48">
            <a:extLst>
              <a:ext uri="{FF2B5EF4-FFF2-40B4-BE49-F238E27FC236}">
                <a16:creationId xmlns:a16="http://schemas.microsoft.com/office/drawing/2014/main" id="{78032A3A-BE47-4032-8558-7677A83EC93B}"/>
              </a:ext>
            </a:extLst>
          </p:cNvPr>
          <p:cNvSpPr/>
          <p:nvPr/>
        </p:nvSpPr>
        <p:spPr>
          <a:xfrm rot="5400000" flipH="1">
            <a:off x="3520664" y="983436"/>
            <a:ext cx="314106" cy="345944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shade val="80000"/>
              <a:hueOff val="762250"/>
              <a:satOff val="-81298"/>
              <a:lumOff val="41064"/>
              <a:alphaOff val="0"/>
            </a:schemeClr>
          </a:fillRef>
          <a:effectRef idx="0">
            <a:schemeClr val="accent2">
              <a:shade val="80000"/>
              <a:hueOff val="762250"/>
              <a:satOff val="-81298"/>
              <a:lumOff val="41064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28" name="Freeform 47">
            <a:extLst>
              <a:ext uri="{FF2B5EF4-FFF2-40B4-BE49-F238E27FC236}">
                <a16:creationId xmlns:a16="http://schemas.microsoft.com/office/drawing/2014/main" id="{0D98C093-9934-4679-99D2-B71F38AA62D4}"/>
              </a:ext>
            </a:extLst>
          </p:cNvPr>
          <p:cNvSpPr/>
          <p:nvPr/>
        </p:nvSpPr>
        <p:spPr>
          <a:xfrm rot="5400000" flipH="1">
            <a:off x="4100919" y="813401"/>
            <a:ext cx="327628" cy="345946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shade val="80000"/>
              <a:hueOff val="508167"/>
              <a:satOff val="-54199"/>
              <a:lumOff val="27376"/>
              <a:alphaOff val="0"/>
            </a:schemeClr>
          </a:fillRef>
          <a:effectRef idx="0">
            <a:schemeClr val="accent2">
              <a:shade val="80000"/>
              <a:hueOff val="508167"/>
              <a:satOff val="-54199"/>
              <a:lumOff val="2737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52" name="Freeform 7">
            <a:extLst>
              <a:ext uri="{FF2B5EF4-FFF2-40B4-BE49-F238E27FC236}">
                <a16:creationId xmlns:a16="http://schemas.microsoft.com/office/drawing/2014/main" id="{96504FE5-4130-461F-BE67-7EF7D797C450}"/>
              </a:ext>
            </a:extLst>
          </p:cNvPr>
          <p:cNvSpPr/>
          <p:nvPr/>
        </p:nvSpPr>
        <p:spPr>
          <a:xfrm>
            <a:off x="3663967" y="2234451"/>
            <a:ext cx="1247239" cy="1181792"/>
          </a:xfrm>
          <a:custGeom>
            <a:avLst/>
            <a:gdLst>
              <a:gd name="connsiteX0" fmla="*/ 0 w 1329140"/>
              <a:gd name="connsiteY0" fmla="*/ 664570 h 1329140"/>
              <a:gd name="connsiteX1" fmla="*/ 664570 w 1329140"/>
              <a:gd name="connsiteY1" fmla="*/ 0 h 1329140"/>
              <a:gd name="connsiteX2" fmla="*/ 1329140 w 1329140"/>
              <a:gd name="connsiteY2" fmla="*/ 664570 h 1329140"/>
              <a:gd name="connsiteX3" fmla="*/ 664570 w 1329140"/>
              <a:gd name="connsiteY3" fmla="*/ 1329140 h 1329140"/>
              <a:gd name="connsiteX4" fmla="*/ 0 w 1329140"/>
              <a:gd name="connsiteY4" fmla="*/ 664570 h 132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9140" h="1329140">
                <a:moveTo>
                  <a:pt x="0" y="664570"/>
                </a:moveTo>
                <a:cubicBezTo>
                  <a:pt x="0" y="297538"/>
                  <a:pt x="297538" y="0"/>
                  <a:pt x="664570" y="0"/>
                </a:cubicBezTo>
                <a:cubicBezTo>
                  <a:pt x="1031602" y="0"/>
                  <a:pt x="1329140" y="297538"/>
                  <a:pt x="1329140" y="664570"/>
                </a:cubicBezTo>
                <a:cubicBezTo>
                  <a:pt x="1329140" y="1031602"/>
                  <a:pt x="1031602" y="1329140"/>
                  <a:pt x="664570" y="1329140"/>
                </a:cubicBezTo>
                <a:cubicBezTo>
                  <a:pt x="297538" y="1329140"/>
                  <a:pt x="0" y="1031602"/>
                  <a:pt x="0" y="664570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algn="ctr" defTabSz="71120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b="1" dirty="0">
                <a:solidFill>
                  <a:schemeClr val="bg1"/>
                </a:solidFill>
                <a:latin typeface="Raleway"/>
                <a:cs typeface="Arial"/>
              </a:rPr>
              <a:t>Loan</a:t>
            </a:r>
          </a:p>
          <a:p>
            <a:pPr algn="ctr" defTabSz="71120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b="1" dirty="0">
                <a:solidFill>
                  <a:schemeClr val="bg1"/>
                </a:solidFill>
                <a:latin typeface="Raleway"/>
                <a:cs typeface="Arial"/>
              </a:rPr>
              <a:t>Amount</a:t>
            </a:r>
          </a:p>
        </p:txBody>
      </p:sp>
    </p:spTree>
    <p:extLst>
      <p:ext uri="{BB962C8B-B14F-4D97-AF65-F5344CB8AC3E}">
        <p14:creationId xmlns:p14="http://schemas.microsoft.com/office/powerpoint/2010/main" val="31777267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B42C2C-B86C-4761-9FF8-8E89814BA8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753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B42C2C-B86C-4761-9FF8-8E89814BA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2635976-DD0A-42BB-879A-0DC7CCEB07F8}"/>
              </a:ext>
            </a:extLst>
          </p:cNvPr>
          <p:cNvSpPr/>
          <p:nvPr/>
        </p:nvSpPr>
        <p:spPr>
          <a:xfrm>
            <a:off x="63150" y="2587118"/>
            <a:ext cx="9017700" cy="2415188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 defTabSz="1019175"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chemeClr val="tx1"/>
                </a:solidFill>
                <a:latin typeface="Raleway" pitchFamily="2" charset="0"/>
              </a:rPr>
              <a:t>Target Feature – </a:t>
            </a:r>
            <a:r>
              <a:rPr lang="en-US" sz="1200" dirty="0">
                <a:solidFill>
                  <a:schemeClr val="tx1"/>
                </a:solidFill>
                <a:latin typeface="Raleway" pitchFamily="2" charset="0"/>
              </a:rPr>
              <a:t>Converted into classification approach due to large outliers and skewed distribution (99% of the loan applications are below 20K whereas &gt;80% are &lt;10K</a:t>
            </a:r>
          </a:p>
          <a:p>
            <a:pPr marL="285750" lvl="1" indent="-285750" defTabSz="1019175"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chemeClr val="tx1"/>
                </a:solidFill>
                <a:latin typeface="Raleway" pitchFamily="2" charset="0"/>
              </a:rPr>
              <a:t>10k+ - 17%, 0-10K –83%</a:t>
            </a:r>
          </a:p>
          <a:p>
            <a:pPr marL="285750" indent="-285750" defTabSz="1019175"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chemeClr val="tx1"/>
                </a:solidFill>
                <a:latin typeface="Raleway" pitchFamily="2" charset="0"/>
              </a:rPr>
              <a:t>Numerical features</a:t>
            </a:r>
            <a:r>
              <a:rPr lang="en-US" sz="1200" dirty="0">
                <a:solidFill>
                  <a:schemeClr val="tx1"/>
                </a:solidFill>
                <a:latin typeface="Raleway" pitchFamily="2" charset="0"/>
              </a:rPr>
              <a:t> – Income, Expenses, House area, loan tenure and installments have low correlation with </a:t>
            </a:r>
            <a:r>
              <a:rPr lang="en-US" sz="1200" b="1" dirty="0">
                <a:solidFill>
                  <a:schemeClr val="tx1"/>
                </a:solidFill>
                <a:latin typeface="Raleway" pitchFamily="2" charset="0"/>
              </a:rPr>
              <a:t>Loan amount. </a:t>
            </a:r>
            <a:r>
              <a:rPr lang="en-US" sz="1200" dirty="0">
                <a:solidFill>
                  <a:schemeClr val="tx1"/>
                </a:solidFill>
                <a:latin typeface="Raleway" pitchFamily="2" charset="0"/>
              </a:rPr>
              <a:t>Converting the numerical features to buckets (categories) to identify the pattern/relationship with the target feature </a:t>
            </a:r>
          </a:p>
          <a:p>
            <a:pPr marL="285750" lvl="4" indent="-285750" defTabSz="1019175"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Raleway" pitchFamily="2" charset="0"/>
              </a:rPr>
              <a:t>Grouping the categories for City, Social Class and Primary business have many categories. Grouped them into less number of categories using multiple techniques like – Target Mean encoding and manual methods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35BF542-8357-4994-967E-7C601FB39D8D}"/>
              </a:ext>
            </a:extLst>
          </p:cNvPr>
          <p:cNvSpPr/>
          <p:nvPr/>
        </p:nvSpPr>
        <p:spPr>
          <a:xfrm>
            <a:off x="63150" y="929768"/>
            <a:ext cx="9017700" cy="1075765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7" name="Google Shape;197;p40"/>
          <p:cNvSpPr/>
          <p:nvPr/>
        </p:nvSpPr>
        <p:spPr>
          <a:xfrm>
            <a:off x="0" y="3116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Exploratory Data Analysis – Findings and Approach</a:t>
            </a:r>
            <a:endParaRPr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7B09C6B-AE85-49B1-B1C3-C39223BD49CC}"/>
              </a:ext>
            </a:extLst>
          </p:cNvPr>
          <p:cNvSpPr txBox="1"/>
          <p:nvPr/>
        </p:nvSpPr>
        <p:spPr>
          <a:xfrm>
            <a:off x="63150" y="1031484"/>
            <a:ext cx="9080850" cy="94641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latin typeface="Raleway" pitchFamily="2" charset="0"/>
              </a:rPr>
              <a:t>Missing Values –</a:t>
            </a:r>
            <a:r>
              <a:rPr lang="en-US" sz="1200" dirty="0">
                <a:latin typeface="Raleway" pitchFamily="2" charset="0"/>
              </a:rPr>
              <a:t> 13% of social class, water availability &amp; Secondary Business categories are NULL followed by City – 5%; 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latin typeface="Raleway" pitchFamily="2" charset="0"/>
              </a:rPr>
              <a:t>Median</a:t>
            </a:r>
            <a:r>
              <a:rPr lang="en-US" sz="1200" dirty="0">
                <a:latin typeface="Raleway" pitchFamily="2" charset="0"/>
              </a:rPr>
              <a:t> imputation for numerical features; </a:t>
            </a:r>
            <a:r>
              <a:rPr lang="en-US" sz="1200" b="1" dirty="0">
                <a:latin typeface="Raleway" pitchFamily="2" charset="0"/>
              </a:rPr>
              <a:t>Unknown</a:t>
            </a:r>
            <a:r>
              <a:rPr lang="en-US" sz="1200" dirty="0">
                <a:latin typeface="Raleway" pitchFamily="2" charset="0"/>
              </a:rPr>
              <a:t> categories for categorical features</a:t>
            </a:r>
          </a:p>
          <a:p>
            <a:pPr marL="171450" indent="-171450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latin typeface="Raleway" pitchFamily="2" charset="0"/>
              </a:rPr>
              <a:t>Outliers</a:t>
            </a:r>
            <a:r>
              <a:rPr lang="en-US" sz="1200" dirty="0">
                <a:latin typeface="Raleway" pitchFamily="2" charset="0"/>
              </a:rPr>
              <a:t> – Capping method – Age, Annual Income, monthly expenses and house area</a:t>
            </a:r>
          </a:p>
          <a:p>
            <a:pPr marL="171450" indent="-171450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Raleway" pitchFamily="2" charset="0"/>
              </a:rPr>
              <a:t>Data inconsistencies – </a:t>
            </a:r>
            <a:r>
              <a:rPr lang="en-US" sz="1200" dirty="0">
                <a:solidFill>
                  <a:schemeClr val="tx1"/>
                </a:solidFill>
                <a:latin typeface="Raleway" pitchFamily="2" charset="0"/>
              </a:rPr>
              <a:t>Text cleaning like – spell corrections, incorrect names etc. fixed manually</a:t>
            </a:r>
          </a:p>
        </p:txBody>
      </p:sp>
      <p:sp>
        <p:nvSpPr>
          <p:cNvPr id="54" name="Rounded Rectangle 20">
            <a:extLst>
              <a:ext uri="{FF2B5EF4-FFF2-40B4-BE49-F238E27FC236}">
                <a16:creationId xmlns:a16="http://schemas.microsoft.com/office/drawing/2014/main" id="{4B00A040-51BA-466D-BBE7-44209FB53026}"/>
              </a:ext>
            </a:extLst>
          </p:cNvPr>
          <p:cNvSpPr/>
          <p:nvPr/>
        </p:nvSpPr>
        <p:spPr bwMode="auto">
          <a:xfrm>
            <a:off x="214038" y="605100"/>
            <a:ext cx="1653272" cy="419328"/>
          </a:xfrm>
          <a:prstGeom prst="roundRect">
            <a:avLst/>
          </a:prstGeom>
          <a:solidFill>
            <a:schemeClr val="accent2">
              <a:lumMod val="75000"/>
              <a:lumOff val="25000"/>
            </a:schemeClr>
          </a:solidFill>
          <a:ln w="38100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defTabSz="1019175">
              <a:spcAft>
                <a:spcPts val="400"/>
              </a:spcAft>
              <a:buClrTx/>
            </a:pPr>
            <a:r>
              <a:rPr lang="en-US" sz="1200" b="1" dirty="0">
                <a:solidFill>
                  <a:schemeClr val="bg1"/>
                </a:solidFill>
                <a:latin typeface="Raleway"/>
              </a:rPr>
              <a:t>Data Cleaning</a:t>
            </a:r>
          </a:p>
        </p:txBody>
      </p:sp>
      <p:sp>
        <p:nvSpPr>
          <p:cNvPr id="55" name="Rounded Rectangle 20">
            <a:extLst>
              <a:ext uri="{FF2B5EF4-FFF2-40B4-BE49-F238E27FC236}">
                <a16:creationId xmlns:a16="http://schemas.microsoft.com/office/drawing/2014/main" id="{7790E789-99A7-439D-80E1-F0ABE53786EF}"/>
              </a:ext>
            </a:extLst>
          </p:cNvPr>
          <p:cNvSpPr/>
          <p:nvPr/>
        </p:nvSpPr>
        <p:spPr bwMode="auto">
          <a:xfrm>
            <a:off x="214038" y="2238378"/>
            <a:ext cx="1946456" cy="419328"/>
          </a:xfrm>
          <a:prstGeom prst="roundRect">
            <a:avLst/>
          </a:prstGeom>
          <a:solidFill>
            <a:schemeClr val="accent2">
              <a:lumMod val="75000"/>
              <a:lumOff val="25000"/>
            </a:schemeClr>
          </a:solidFill>
          <a:ln w="38100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marR="0" lvl="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Raleway"/>
              </a:rPr>
              <a:t>Feature Engineering</a:t>
            </a:r>
          </a:p>
        </p:txBody>
      </p:sp>
    </p:spTree>
    <p:extLst>
      <p:ext uri="{BB962C8B-B14F-4D97-AF65-F5344CB8AC3E}">
        <p14:creationId xmlns:p14="http://schemas.microsoft.com/office/powerpoint/2010/main" val="40325060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546EA82-85C5-4AB2-9A2B-9E018472C7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383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546EA82-85C5-4AB2-9A2B-9E018472C7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8112D2C-BD1F-47BE-99A3-9E1999F12A7B}"/>
              </a:ext>
            </a:extLst>
          </p:cNvPr>
          <p:cNvSpPr/>
          <p:nvPr/>
        </p:nvSpPr>
        <p:spPr>
          <a:xfrm>
            <a:off x="63150" y="2647937"/>
            <a:ext cx="9017700" cy="879033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marR="0" lvl="0" indent="-17145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dirty="0">
                <a:solidFill>
                  <a:schemeClr val="tx1"/>
                </a:solidFill>
                <a:latin typeface="Raleway"/>
              </a:rPr>
              <a:t>Algorithm Applied:</a:t>
            </a:r>
            <a:r>
              <a:rPr lang="en-US" sz="1200" dirty="0">
                <a:solidFill>
                  <a:schemeClr val="tx1"/>
                </a:solidFill>
                <a:latin typeface="Raleway"/>
              </a:rPr>
              <a:t> Random forest and XGboost</a:t>
            </a:r>
          </a:p>
          <a:p>
            <a:pPr marL="171450" marR="0" lvl="0" indent="-17145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dirty="0">
                <a:solidFill>
                  <a:schemeClr val="tx1"/>
                </a:solidFill>
                <a:latin typeface="Raleway"/>
              </a:rPr>
              <a:t>Accuracy Metric: </a:t>
            </a:r>
            <a:r>
              <a:rPr lang="en-US" sz="1200" dirty="0">
                <a:solidFill>
                  <a:schemeClr val="tx1"/>
                </a:solidFill>
                <a:latin typeface="Raleway"/>
              </a:rPr>
              <a:t>F1 score validation </a:t>
            </a:r>
          </a:p>
          <a:p>
            <a:pPr marL="171450" marR="0" lvl="0" indent="-17145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Raleway"/>
              </a:rPr>
              <a:t>Best Model (so far) – XGboost with </a:t>
            </a:r>
            <a:r>
              <a:rPr lang="en-US" sz="1200" b="1" dirty="0">
                <a:solidFill>
                  <a:schemeClr val="tx1"/>
                </a:solidFill>
                <a:latin typeface="Raleway"/>
              </a:rPr>
              <a:t>60% F1 score </a:t>
            </a:r>
            <a:r>
              <a:rPr lang="en-US" sz="1200" dirty="0">
                <a:solidFill>
                  <a:schemeClr val="tx1"/>
                </a:solidFill>
                <a:latin typeface="Raleway"/>
              </a:rPr>
              <a:t> </a:t>
            </a:r>
          </a:p>
        </p:txBody>
      </p:sp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00" b="1" dirty="0">
                <a:solidFill>
                  <a:srgbClr val="1A1A1A"/>
                </a:solidFill>
                <a:latin typeface="Raleway"/>
                <a:sym typeface="Raleway"/>
              </a:rPr>
              <a:t>ML Model Findings – Best Approach</a:t>
            </a:r>
            <a:endParaRPr dirty="0"/>
          </a:p>
        </p:txBody>
      </p:sp>
      <p:graphicFrame>
        <p:nvGraphicFramePr>
          <p:cNvPr id="5" name="Table 197">
            <a:extLst>
              <a:ext uri="{FF2B5EF4-FFF2-40B4-BE49-F238E27FC236}">
                <a16:creationId xmlns:a16="http://schemas.microsoft.com/office/drawing/2014/main" id="{18E73ABC-3361-4E88-98E5-4BC7424BF2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4276286"/>
              </p:ext>
            </p:extLst>
          </p:nvPr>
        </p:nvGraphicFramePr>
        <p:xfrm>
          <a:off x="63150" y="3635987"/>
          <a:ext cx="7164997" cy="92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0820">
                  <a:extLst>
                    <a:ext uri="{9D8B030D-6E8A-4147-A177-3AD203B41FA5}">
                      <a16:colId xmlns:a16="http://schemas.microsoft.com/office/drawing/2014/main" val="1933289919"/>
                    </a:ext>
                  </a:extLst>
                </a:gridCol>
                <a:gridCol w="829875">
                  <a:extLst>
                    <a:ext uri="{9D8B030D-6E8A-4147-A177-3AD203B41FA5}">
                      <a16:colId xmlns:a16="http://schemas.microsoft.com/office/drawing/2014/main" val="225365477"/>
                    </a:ext>
                  </a:extLst>
                </a:gridCol>
                <a:gridCol w="890251">
                  <a:extLst>
                    <a:ext uri="{9D8B030D-6E8A-4147-A177-3AD203B41FA5}">
                      <a16:colId xmlns:a16="http://schemas.microsoft.com/office/drawing/2014/main" val="303223908"/>
                    </a:ext>
                  </a:extLst>
                </a:gridCol>
                <a:gridCol w="830973">
                  <a:extLst>
                    <a:ext uri="{9D8B030D-6E8A-4147-A177-3AD203B41FA5}">
                      <a16:colId xmlns:a16="http://schemas.microsoft.com/office/drawing/2014/main" val="3170810450"/>
                    </a:ext>
                  </a:extLst>
                </a:gridCol>
                <a:gridCol w="1503542">
                  <a:extLst>
                    <a:ext uri="{9D8B030D-6E8A-4147-A177-3AD203B41FA5}">
                      <a16:colId xmlns:a16="http://schemas.microsoft.com/office/drawing/2014/main" val="3385111236"/>
                    </a:ext>
                  </a:extLst>
                </a:gridCol>
                <a:gridCol w="1859536">
                  <a:extLst>
                    <a:ext uri="{9D8B030D-6E8A-4147-A177-3AD203B41FA5}">
                      <a16:colId xmlns:a16="http://schemas.microsoft.com/office/drawing/2014/main" val="1205521181"/>
                    </a:ext>
                  </a:extLst>
                </a:gridCol>
              </a:tblGrid>
              <a:tr h="266224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u="none" strike="noStrike" cap="none" dirty="0">
                          <a:solidFill>
                            <a:schemeClr val="bg1"/>
                          </a:solidFill>
                          <a:sym typeface="Arial"/>
                        </a:rPr>
                        <a:t>F1-Score</a:t>
                      </a:r>
                      <a:endParaRPr lang="en-US" sz="1100" b="1" i="0" u="none" strike="noStrike" cap="none" dirty="0">
                        <a:solidFill>
                          <a:schemeClr val="bg1"/>
                        </a:solidFill>
                        <a:latin typeface="Raleway"/>
                        <a:ea typeface="+mn-ea"/>
                        <a:cs typeface="Arial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u="none" strike="noStrike" cap="none" dirty="0">
                          <a:solidFill>
                            <a:schemeClr val="bg1"/>
                          </a:solidFill>
                          <a:sym typeface="Arial"/>
                        </a:rPr>
                        <a:t>Precision</a:t>
                      </a:r>
                      <a:endParaRPr lang="en-US" sz="1100" b="1" i="0" u="none" strike="noStrike" cap="none" dirty="0">
                        <a:solidFill>
                          <a:schemeClr val="bg1"/>
                        </a:solidFill>
                        <a:latin typeface="Raleway"/>
                        <a:ea typeface="+mn-ea"/>
                        <a:cs typeface="Arial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u="none" strike="noStrike" cap="none" dirty="0">
                          <a:solidFill>
                            <a:schemeClr val="bg1"/>
                          </a:solidFill>
                          <a:latin typeface="Raleway"/>
                          <a:ea typeface="+mn-ea"/>
                          <a:cs typeface="Arial"/>
                          <a:sym typeface="Arial"/>
                        </a:rPr>
                        <a:t>Rec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u="none" strike="noStrike" cap="none" dirty="0">
                          <a:solidFill>
                            <a:schemeClr val="bg1"/>
                          </a:solidFill>
                          <a:latin typeface="Raleway"/>
                          <a:ea typeface="+mn-ea"/>
                          <a:cs typeface="Arial"/>
                          <a:sym typeface="Arial"/>
                        </a:rPr>
                        <a:t>Criter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u="none" strike="noStrike" cap="none" dirty="0">
                          <a:solidFill>
                            <a:schemeClr val="bg1"/>
                          </a:solidFill>
                          <a:latin typeface="Raleway"/>
                          <a:ea typeface="+mn-ea"/>
                          <a:cs typeface="Arial"/>
                          <a:sym typeface="Arial"/>
                        </a:rPr>
                        <a:t>Scope of Improvem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07130959"/>
                  </a:ext>
                </a:extLst>
              </a:tr>
              <a:tr h="300955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1" i="0" u="none" strike="noStrike" cap="none" dirty="0">
                          <a:solidFill>
                            <a:schemeClr val="tx1"/>
                          </a:solidFill>
                          <a:latin typeface="Raleway"/>
                          <a:ea typeface="+mn-ea"/>
                          <a:cs typeface="+mn-cs"/>
                          <a:sym typeface="Arial"/>
                        </a:rPr>
                        <a:t>Random Fore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0" i="0" u="none" strike="noStrike" cap="none" dirty="0">
                          <a:solidFill>
                            <a:schemeClr val="tx1"/>
                          </a:solidFill>
                          <a:latin typeface="Raleway"/>
                          <a:ea typeface="+mn-ea"/>
                          <a:cs typeface="+mn-cs"/>
                          <a:sym typeface="Arial"/>
                        </a:rPr>
                        <a:t>5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0" i="0" u="none" strike="noStrike" cap="none" dirty="0">
                          <a:solidFill>
                            <a:schemeClr val="tx1"/>
                          </a:solidFill>
                          <a:latin typeface="Raleway"/>
                          <a:ea typeface="+mn-ea"/>
                          <a:cs typeface="+mn-cs"/>
                          <a:sym typeface="Arial"/>
                        </a:rPr>
                        <a:t>6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0" i="0" u="none" strike="noStrike" cap="none" dirty="0">
                          <a:solidFill>
                            <a:schemeClr val="tx1"/>
                          </a:solidFill>
                          <a:latin typeface="Raleway"/>
                          <a:ea typeface="+mn-ea"/>
                          <a:cs typeface="+mn-cs"/>
                          <a:sym typeface="Arial"/>
                        </a:rPr>
                        <a:t>5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1" i="0" u="none" strike="noStrike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Raleway"/>
                          <a:ea typeface="+mn-ea"/>
                          <a:cs typeface="Arial"/>
                          <a:sym typeface="Arial"/>
                        </a:rPr>
                        <a:t>Overfitting Mo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1" i="0" u="none" strike="noStrike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Raleway"/>
                          <a:ea typeface="+mn-ea"/>
                          <a:cs typeface="Arial"/>
                          <a:sym typeface="Arial"/>
                        </a:rPr>
                        <a:t>N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7067259"/>
                  </a:ext>
                </a:extLst>
              </a:tr>
              <a:tr h="3544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b="1" i="0" u="none" strike="noStrike" cap="none" dirty="0">
                          <a:solidFill>
                            <a:schemeClr val="tx1"/>
                          </a:solidFill>
                          <a:latin typeface="Raleway"/>
                          <a:ea typeface="+mn-ea"/>
                          <a:cs typeface="+mn-cs"/>
                          <a:sym typeface="Arial"/>
                        </a:rPr>
                        <a:t>XG Boo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0" i="0" u="none" strike="noStrike" cap="none" dirty="0">
                          <a:solidFill>
                            <a:schemeClr val="tx1"/>
                          </a:solidFill>
                          <a:latin typeface="Raleway"/>
                          <a:ea typeface="+mn-ea"/>
                          <a:cs typeface="+mn-cs"/>
                          <a:sym typeface="Arial"/>
                        </a:rPr>
                        <a:t>6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0" i="0" u="none" strike="noStrike" cap="none" dirty="0">
                          <a:solidFill>
                            <a:schemeClr val="tx1"/>
                          </a:solidFill>
                          <a:latin typeface="Raleway"/>
                          <a:ea typeface="+mn-ea"/>
                          <a:cs typeface="+mn-cs"/>
                          <a:sym typeface="Arial"/>
                        </a:rPr>
                        <a:t>4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0" i="0" u="none" strike="noStrike" cap="none" dirty="0">
                          <a:solidFill>
                            <a:schemeClr val="tx1"/>
                          </a:solidFill>
                          <a:latin typeface="Raleway"/>
                          <a:ea typeface="+mn-ea"/>
                          <a:cs typeface="+mn-cs"/>
                          <a:sym typeface="Arial"/>
                        </a:rPr>
                        <a:t>8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1" i="0" u="none" strike="noStrike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Raleway"/>
                          <a:ea typeface="+mn-ea"/>
                          <a:cs typeface="Arial"/>
                          <a:sym typeface="Arial"/>
                        </a:rPr>
                        <a:t>No overfitt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1" i="0" u="none" strike="noStrike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Raleway"/>
                          <a:ea typeface="+mn-ea"/>
                          <a:cs typeface="Arial"/>
                          <a:sym typeface="Arial"/>
                        </a:rPr>
                        <a:t>Y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7180163"/>
                  </a:ext>
                </a:extLst>
              </a:tr>
            </a:tbl>
          </a:graphicData>
        </a:graphic>
      </p:graphicFrame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08C8EAD-7C07-4697-966C-ADBF59340BC6}"/>
              </a:ext>
            </a:extLst>
          </p:cNvPr>
          <p:cNvSpPr/>
          <p:nvPr/>
        </p:nvSpPr>
        <p:spPr>
          <a:xfrm>
            <a:off x="63150" y="952891"/>
            <a:ext cx="9017700" cy="1190954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marR="0" lvl="0" indent="-17145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Raleway"/>
              </a:rPr>
              <a:t>Loan purpose is coming one of the most significant drivers from the analysis – especially categories like education loan, manufacturing and Recycle&amp; waste management</a:t>
            </a:r>
          </a:p>
          <a:p>
            <a:pPr marL="171450" marR="0" lvl="0" indent="-17145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Raleway"/>
              </a:rPr>
              <a:t>Primary business of the applicants also matter here, like </a:t>
            </a:r>
            <a:r>
              <a:rPr lang="en-US" sz="1200" dirty="0" err="1">
                <a:solidFill>
                  <a:schemeClr val="tx1"/>
                </a:solidFill>
                <a:latin typeface="Raleway"/>
              </a:rPr>
              <a:t>papad</a:t>
            </a:r>
            <a:r>
              <a:rPr lang="en-US" sz="1200" dirty="0">
                <a:solidFill>
                  <a:schemeClr val="tx1"/>
                </a:solidFill>
                <a:latin typeface="Raleway"/>
              </a:rPr>
              <a:t> making, traditional weaving and other categories</a:t>
            </a:r>
          </a:p>
          <a:p>
            <a:pPr marL="171450" marR="0" lvl="0" indent="-17145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Raleway"/>
              </a:rPr>
              <a:t>Primary findings also suggest that social class/caste is also important factor in determining the loan amount eligible</a:t>
            </a:r>
          </a:p>
        </p:txBody>
      </p:sp>
      <p:sp>
        <p:nvSpPr>
          <p:cNvPr id="7" name="Rounded Rectangle 20">
            <a:extLst>
              <a:ext uri="{FF2B5EF4-FFF2-40B4-BE49-F238E27FC236}">
                <a16:creationId xmlns:a16="http://schemas.microsoft.com/office/drawing/2014/main" id="{4021F209-E996-4E9A-BBAC-A29C93B5D9B5}"/>
              </a:ext>
            </a:extLst>
          </p:cNvPr>
          <p:cNvSpPr/>
          <p:nvPr/>
        </p:nvSpPr>
        <p:spPr bwMode="auto">
          <a:xfrm>
            <a:off x="214038" y="604151"/>
            <a:ext cx="1946456" cy="419328"/>
          </a:xfrm>
          <a:prstGeom prst="roundRect">
            <a:avLst/>
          </a:prstGeom>
          <a:solidFill>
            <a:schemeClr val="accent2">
              <a:lumMod val="75000"/>
              <a:lumOff val="25000"/>
            </a:schemeClr>
          </a:solidFill>
          <a:ln w="38100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marR="0" lvl="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Raleway"/>
              </a:rPr>
              <a:t>Driver Analysis</a:t>
            </a:r>
          </a:p>
        </p:txBody>
      </p:sp>
      <p:sp>
        <p:nvSpPr>
          <p:cNvPr id="10" name="Rounded Rectangle 20">
            <a:extLst>
              <a:ext uri="{FF2B5EF4-FFF2-40B4-BE49-F238E27FC236}">
                <a16:creationId xmlns:a16="http://schemas.microsoft.com/office/drawing/2014/main" id="{E529809A-DBA3-4384-83F3-B53CE57B8F1C}"/>
              </a:ext>
            </a:extLst>
          </p:cNvPr>
          <p:cNvSpPr/>
          <p:nvPr/>
        </p:nvSpPr>
        <p:spPr bwMode="auto">
          <a:xfrm>
            <a:off x="214038" y="2272697"/>
            <a:ext cx="1946456" cy="419328"/>
          </a:xfrm>
          <a:prstGeom prst="roundRect">
            <a:avLst/>
          </a:prstGeom>
          <a:solidFill>
            <a:schemeClr val="accent2">
              <a:lumMod val="75000"/>
              <a:lumOff val="25000"/>
            </a:schemeClr>
          </a:solidFill>
          <a:ln w="38100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marR="0" lvl="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Raleway"/>
              </a:rPr>
              <a:t>ML Model Findings</a:t>
            </a:r>
          </a:p>
        </p:txBody>
      </p:sp>
    </p:spTree>
    <p:extLst>
      <p:ext uri="{BB962C8B-B14F-4D97-AF65-F5344CB8AC3E}">
        <p14:creationId xmlns:p14="http://schemas.microsoft.com/office/powerpoint/2010/main" val="7271941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Recommendations &amp; Next Steps</a:t>
            </a:r>
            <a:endParaRPr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75587F-E1B3-42A1-B4AF-8B5A23933551}"/>
              </a:ext>
            </a:extLst>
          </p:cNvPr>
          <p:cNvSpPr txBox="1"/>
          <p:nvPr/>
        </p:nvSpPr>
        <p:spPr>
          <a:xfrm>
            <a:off x="63150" y="698167"/>
            <a:ext cx="8950221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Raleway"/>
              </a:rPr>
              <a:t>Currently, social class and city are emerging as important factors which ideally not be primary criteria for granting commercial loans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Raleway"/>
              </a:rPr>
              <a:t>More data around individual’s current assets, existing liabilities, loan/credit history should be incorporated since significant variations are observed for multiple categories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Raleway"/>
              </a:rPr>
              <a:t>Data around business health check and complexity can also prove helpful here like – Turnover of the business etc.</a:t>
            </a:r>
          </a:p>
          <a:p>
            <a:pPr defTabSz="1019175">
              <a:spcAft>
                <a:spcPts val="400"/>
              </a:spcAft>
            </a:pPr>
            <a:endParaRPr lang="en-US" b="1" dirty="0">
              <a:solidFill>
                <a:schemeClr val="tx1"/>
              </a:solidFill>
              <a:latin typeface="Raleway"/>
            </a:endParaRPr>
          </a:p>
          <a:p>
            <a:pPr defTabSz="1019175">
              <a:spcAft>
                <a:spcPts val="400"/>
              </a:spcAft>
            </a:pPr>
            <a:r>
              <a:rPr lang="en-US" b="1" dirty="0">
                <a:solidFill>
                  <a:schemeClr val="tx1"/>
                </a:solidFill>
                <a:latin typeface="Raleway"/>
              </a:rPr>
              <a:t>Next Steps: 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Raleway"/>
              </a:rPr>
              <a:t>More data cleaning steps can be used to clean the data like – city, social class and primary business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Raleway"/>
              </a:rPr>
              <a:t>Apply class Imbalance handling techniques like – SMOTE, Random Oversampling 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Raleway"/>
              </a:rPr>
              <a:t>Share the results with stakeholders and business and generate the feedback loop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Raleway"/>
            </a:endParaRPr>
          </a:p>
          <a:p>
            <a:pPr marR="0" lvl="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endParaRPr lang="en-US" dirty="0">
              <a:solidFill>
                <a:schemeClr val="tx1"/>
              </a:solidFill>
              <a:latin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21485133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eamline">
  <a:themeElements>
    <a:clrScheme name="Streamline">
      <a:dk1>
        <a:srgbClr val="1A9988"/>
      </a:dk1>
      <a:lt1>
        <a:srgbClr val="FFFFFF"/>
      </a:lt1>
      <a:dk2>
        <a:srgbClr val="1A1A1A"/>
      </a:dk2>
      <a:lt2>
        <a:srgbClr val="E9EDEE"/>
      </a:lt2>
      <a:accent1>
        <a:srgbClr val="595959"/>
      </a:accent1>
      <a:accent2>
        <a:srgbClr val="6AA4C8"/>
      </a:accent2>
      <a:accent3>
        <a:srgbClr val="EB5600"/>
      </a:accent3>
      <a:accent4>
        <a:srgbClr val="A2FFE8"/>
      </a:accent4>
      <a:accent5>
        <a:srgbClr val="1C3678"/>
      </a:accent5>
      <a:accent6>
        <a:srgbClr val="FFB8A2"/>
      </a:accent6>
      <a:hlink>
        <a:srgbClr val="1C3678"/>
      </a:hlink>
      <a:folHlink>
        <a:srgbClr val="1C367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5</TotalTime>
  <Words>1022</Words>
  <Application>Microsoft Office PowerPoint</Application>
  <PresentationFormat>On-screen Show (16:9)</PresentationFormat>
  <Paragraphs>157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Raleway</vt:lpstr>
      <vt:lpstr>Lato</vt:lpstr>
      <vt:lpstr>Arial</vt:lpstr>
      <vt:lpstr>Streamline</vt:lpstr>
      <vt:lpstr>Simple Light</vt:lpstr>
      <vt:lpstr>think-cell Slide</vt:lpstr>
      <vt:lpstr>Estimating Credit Worthiness of Rural India </vt:lpstr>
      <vt:lpstr>Agenda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timating Credit Worthiness of Rural India</dc:title>
  <cp:lastModifiedBy>Aniket Chhabra</cp:lastModifiedBy>
  <cp:revision>3</cp:revision>
  <dcterms:modified xsi:type="dcterms:W3CDTF">2021-09-26T11:33:53Z</dcterms:modified>
</cp:coreProperties>
</file>